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4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  <p:sldMasterId id="2147483720" r:id="rId6"/>
    <p:sldMasterId id="2147483744" r:id="rId7"/>
    <p:sldMasterId id="2147483708" r:id="rId8"/>
    <p:sldMasterId id="2147483689" r:id="rId9"/>
    <p:sldMasterId id="2147483675" r:id="rId10"/>
  </p:sldMasterIdLst>
  <p:notesMasterIdLst>
    <p:notesMasterId r:id="rId17"/>
  </p:notesMasterIdLst>
  <p:sldIdLst>
    <p:sldId id="603" r:id="rId11"/>
    <p:sldId id="578" r:id="rId12"/>
    <p:sldId id="604" r:id="rId13"/>
    <p:sldId id="605" r:id="rId14"/>
    <p:sldId id="606" r:id="rId15"/>
    <p:sldId id="607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meron Troxel" initials="CT" lastIdx="1" clrIdx="0">
    <p:extLst>
      <p:ext uri="{19B8F6BF-5375-455C-9EA6-DF929625EA0E}">
        <p15:presenceInfo xmlns:p15="http://schemas.microsoft.com/office/powerpoint/2012/main" userId="c07b3ff8365a3155" providerId="Windows Live"/>
      </p:ext>
    </p:extLst>
  </p:cmAuthor>
  <p:cmAuthor id="2" name="Jvarallo" initials="J.V" lastIdx="19" clrIdx="1">
    <p:extLst>
      <p:ext uri="{19B8F6BF-5375-455C-9EA6-DF929625EA0E}">
        <p15:presenceInfo xmlns:p15="http://schemas.microsoft.com/office/powerpoint/2012/main" userId="Jvarallo" providerId="None"/>
      </p:ext>
    </p:extLst>
  </p:cmAuthor>
  <p:cmAuthor id="3" name="Joan Taylor" initials="JT" lastIdx="11" clrIdx="2">
    <p:extLst>
      <p:ext uri="{19B8F6BF-5375-455C-9EA6-DF929625EA0E}">
        <p15:presenceInfo xmlns:p15="http://schemas.microsoft.com/office/powerpoint/2012/main" userId="S-1-5-21-200220283-296057445-522006248-756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5F13"/>
    <a:srgbClr val="F732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A1BC322C-4F90-47DD-B05A-5FBB59DE2E91}" styleName="Jhpige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76200" cmpd="sng">
              <a:solidFill>
                <a:schemeClr val="accent2"/>
              </a:solidFill>
            </a:ln>
          </a:bottom>
          <a:insideH>
            <a:ln w="12700" cap="flat" cmpd="sng" algn="ctr">
              <a:solidFill>
                <a:schemeClr val="accent2"/>
              </a:solidFill>
              <a:prstDash val="dot"/>
              <a:round/>
              <a:headEnd type="none" w="med" len="med"/>
              <a:tailEnd type="none" w="med" len="med"/>
            </a:ln>
          </a:insideH>
          <a:insideV>
            <a:ln w="12700" cap="flat" cmpd="sng" algn="ctr">
              <a:solidFill>
                <a:schemeClr val="accent2"/>
              </a:solidFill>
              <a:prstDash val="dot"/>
              <a:round/>
              <a:headEnd type="none" w="med" len="med"/>
              <a:tailEnd type="none" w="med" len="med"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762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94075" autoAdjust="0"/>
  </p:normalViewPr>
  <p:slideViewPr>
    <p:cSldViewPr snapToGrid="0" showGuides="1">
      <p:cViewPr varScale="1">
        <p:scale>
          <a:sx n="69" d="100"/>
          <a:sy n="69" d="100"/>
        </p:scale>
        <p:origin x="1398" y="66"/>
      </p:cViewPr>
      <p:guideLst>
        <p:guide orient="horz" pos="288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10" Type="http://schemas.openxmlformats.org/officeDocument/2006/relationships/slideMaster" Target="slideMasters/slideMaster6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973409-0699-42E0-9A74-6BEAF9D92F1B}" type="datetimeFigureOut">
              <a:rPr lang="en-US" smtClean="0"/>
              <a:t>9/2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BA6E6A-264B-43F9-8C65-A6A76CA8996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269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Lato" panose="020B0604020202020204" charset="0"/>
              <a:cs typeface="GE Inspira Pitch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A6E6A-264B-43F9-8C65-A6A76CA8996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223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emf"/><Relationship Id="rId5" Type="http://schemas.openxmlformats.org/officeDocument/2006/relationships/image" Target="../media/image7.emf"/><Relationship Id="rId4" Type="http://schemas.openxmlformats.org/officeDocument/2006/relationships/image" Target="../media/image6.jp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5.emf"/><Relationship Id="rId5" Type="http://schemas.openxmlformats.org/officeDocument/2006/relationships/image" Target="../media/image7.emf"/><Relationship Id="rId4" Type="http://schemas.openxmlformats.org/officeDocument/2006/relationships/image" Target="../media/image24.jpe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5.emf"/><Relationship Id="rId7" Type="http://schemas.openxmlformats.org/officeDocument/2006/relationships/image" Target="../media/image9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24.jpeg"/><Relationship Id="rId9" Type="http://schemas.openxmlformats.org/officeDocument/2006/relationships/image" Target="../media/image2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emf"/><Relationship Id="rId4" Type="http://schemas.openxmlformats.org/officeDocument/2006/relationships/image" Target="../media/image20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image" Target="../media/image5.emf"/><Relationship Id="rId7" Type="http://schemas.openxmlformats.org/officeDocument/2006/relationships/image" Target="../media/image9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6.jpg"/><Relationship Id="rId9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png"/><Relationship Id="rId4" Type="http://schemas.openxmlformats.org/officeDocument/2006/relationships/image" Target="../media/image31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emf"/><Relationship Id="rId4" Type="http://schemas.openxmlformats.org/officeDocument/2006/relationships/image" Target="../media/image6.jp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jp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9"/>
          <p:cNvSpPr>
            <a:spLocks/>
          </p:cNvSpPr>
          <p:nvPr userDrawn="1"/>
        </p:nvSpPr>
        <p:spPr bwMode="auto">
          <a:xfrm>
            <a:off x="1" y="0"/>
            <a:ext cx="8255000" cy="5745695"/>
          </a:xfrm>
          <a:custGeom>
            <a:avLst/>
            <a:gdLst>
              <a:gd name="T0" fmla="*/ 0 w 2599"/>
              <a:gd name="T1" fmla="*/ 0 h 1808"/>
              <a:gd name="T2" fmla="*/ 0 w 2599"/>
              <a:gd name="T3" fmla="*/ 1783 h 1808"/>
              <a:gd name="T4" fmla="*/ 441 w 2599"/>
              <a:gd name="T5" fmla="*/ 1805 h 1808"/>
              <a:gd name="T6" fmla="*/ 986 w 2599"/>
              <a:gd name="T7" fmla="*/ 1729 h 1808"/>
              <a:gd name="T8" fmla="*/ 1612 w 2599"/>
              <a:gd name="T9" fmla="*/ 1471 h 1808"/>
              <a:gd name="T10" fmla="*/ 2173 w 2599"/>
              <a:gd name="T11" fmla="*/ 995 h 1808"/>
              <a:gd name="T12" fmla="*/ 2543 w 2599"/>
              <a:gd name="T13" fmla="*/ 262 h 1808"/>
              <a:gd name="T14" fmla="*/ 2599 w 2599"/>
              <a:gd name="T15" fmla="*/ 0 h 1808"/>
              <a:gd name="T16" fmla="*/ 0 w 2599"/>
              <a:gd name="T17" fmla="*/ 0 h 18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99" h="1808">
                <a:moveTo>
                  <a:pt x="0" y="0"/>
                </a:moveTo>
                <a:cubicBezTo>
                  <a:pt x="0" y="1783"/>
                  <a:pt x="0" y="1783"/>
                  <a:pt x="0" y="1783"/>
                </a:cubicBezTo>
                <a:cubicBezTo>
                  <a:pt x="240" y="1808"/>
                  <a:pt x="441" y="1805"/>
                  <a:pt x="441" y="1805"/>
                </a:cubicBezTo>
                <a:cubicBezTo>
                  <a:pt x="594" y="1805"/>
                  <a:pt x="775" y="1780"/>
                  <a:pt x="986" y="1729"/>
                </a:cubicBezTo>
                <a:cubicBezTo>
                  <a:pt x="1197" y="1678"/>
                  <a:pt x="1405" y="1592"/>
                  <a:pt x="1612" y="1471"/>
                </a:cubicBezTo>
                <a:cubicBezTo>
                  <a:pt x="1819" y="1351"/>
                  <a:pt x="2006" y="1193"/>
                  <a:pt x="2173" y="995"/>
                </a:cubicBezTo>
                <a:cubicBezTo>
                  <a:pt x="2339" y="798"/>
                  <a:pt x="2464" y="554"/>
                  <a:pt x="2543" y="262"/>
                </a:cubicBezTo>
                <a:cubicBezTo>
                  <a:pt x="2565" y="179"/>
                  <a:pt x="2584" y="92"/>
                  <a:pt x="2599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5314" y="436564"/>
            <a:ext cx="4751386" cy="2316162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200"/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5314" y="3003739"/>
            <a:ext cx="3798266" cy="385763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66" t="16770" r="12166" b="16770"/>
          <a:stretch/>
        </p:blipFill>
        <p:spPr>
          <a:xfrm>
            <a:off x="6613525" y="5099050"/>
            <a:ext cx="2152622" cy="142008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074" y="5956643"/>
            <a:ext cx="1197769" cy="22757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95486" y="3347901"/>
            <a:ext cx="3798094" cy="122872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425" b="1"/>
            </a:lvl2pPr>
            <a:lvl3pPr marL="685800" indent="0">
              <a:buNone/>
              <a:defRPr sz="1425" b="1"/>
            </a:lvl3pPr>
            <a:lvl4pPr marL="1028700" indent="0">
              <a:buNone/>
              <a:defRPr sz="1425" b="1"/>
            </a:lvl4pPr>
            <a:lvl5pPr marL="1371600" indent="0">
              <a:buNone/>
              <a:defRPr sz="1425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314" y="6379314"/>
            <a:ext cx="1677600" cy="11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841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75F017-A88D-4A53-9833-C3B1A0C427E0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858" y="492125"/>
            <a:ext cx="4641941" cy="3155873"/>
          </a:xfrm>
        </p:spPr>
        <p:txBody>
          <a:bodyPr>
            <a:no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12905" y="6033760"/>
            <a:ext cx="888207" cy="58523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roup 4"/>
          <p:cNvGrpSpPr>
            <a:grpSpLocks noChangeAspect="1"/>
          </p:cNvGrpSpPr>
          <p:nvPr userDrawn="1"/>
        </p:nvGrpSpPr>
        <p:grpSpPr bwMode="auto">
          <a:xfrm>
            <a:off x="6821373" y="339758"/>
            <a:ext cx="1940679" cy="3432065"/>
            <a:chOff x="3114" y="882"/>
            <a:chExt cx="1447" cy="2559"/>
          </a:xfrm>
          <a:solidFill>
            <a:schemeClr val="accent2"/>
          </a:solidFill>
        </p:grpSpPr>
        <p:sp>
          <p:nvSpPr>
            <p:cNvPr id="25" name="Freeform 5"/>
            <p:cNvSpPr>
              <a:spLocks/>
            </p:cNvSpPr>
            <p:nvPr userDrawn="1"/>
          </p:nvSpPr>
          <p:spPr bwMode="auto">
            <a:xfrm>
              <a:off x="3425" y="882"/>
              <a:ext cx="526" cy="500"/>
            </a:xfrm>
            <a:custGeom>
              <a:avLst/>
              <a:gdLst>
                <a:gd name="T0" fmla="*/ 32 w 222"/>
                <a:gd name="T1" fmla="*/ 183 h 211"/>
                <a:gd name="T2" fmla="*/ 111 w 222"/>
                <a:gd name="T3" fmla="*/ 211 h 211"/>
                <a:gd name="T4" fmla="*/ 190 w 222"/>
                <a:gd name="T5" fmla="*/ 183 h 211"/>
                <a:gd name="T6" fmla="*/ 222 w 222"/>
                <a:gd name="T7" fmla="*/ 106 h 211"/>
                <a:gd name="T8" fmla="*/ 190 w 222"/>
                <a:gd name="T9" fmla="*/ 29 h 211"/>
                <a:gd name="T10" fmla="*/ 111 w 222"/>
                <a:gd name="T11" fmla="*/ 0 h 211"/>
                <a:gd name="T12" fmla="*/ 32 w 222"/>
                <a:gd name="T13" fmla="*/ 29 h 211"/>
                <a:gd name="T14" fmla="*/ 0 w 222"/>
                <a:gd name="T15" fmla="*/ 106 h 211"/>
                <a:gd name="T16" fmla="*/ 32 w 222"/>
                <a:gd name="T17" fmla="*/ 183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2" h="211">
                  <a:moveTo>
                    <a:pt x="32" y="183"/>
                  </a:moveTo>
                  <a:cubicBezTo>
                    <a:pt x="54" y="202"/>
                    <a:pt x="80" y="211"/>
                    <a:pt x="111" y="211"/>
                  </a:cubicBezTo>
                  <a:cubicBezTo>
                    <a:pt x="142" y="211"/>
                    <a:pt x="168" y="202"/>
                    <a:pt x="190" y="183"/>
                  </a:cubicBezTo>
                  <a:cubicBezTo>
                    <a:pt x="211" y="164"/>
                    <a:pt x="222" y="139"/>
                    <a:pt x="222" y="106"/>
                  </a:cubicBezTo>
                  <a:cubicBezTo>
                    <a:pt x="222" y="74"/>
                    <a:pt x="211" y="48"/>
                    <a:pt x="190" y="29"/>
                  </a:cubicBezTo>
                  <a:cubicBezTo>
                    <a:pt x="168" y="10"/>
                    <a:pt x="142" y="0"/>
                    <a:pt x="111" y="0"/>
                  </a:cubicBezTo>
                  <a:cubicBezTo>
                    <a:pt x="80" y="0"/>
                    <a:pt x="54" y="10"/>
                    <a:pt x="32" y="29"/>
                  </a:cubicBezTo>
                  <a:cubicBezTo>
                    <a:pt x="11" y="48"/>
                    <a:pt x="0" y="74"/>
                    <a:pt x="0" y="106"/>
                  </a:cubicBezTo>
                  <a:cubicBezTo>
                    <a:pt x="0" y="139"/>
                    <a:pt x="11" y="164"/>
                    <a:pt x="32" y="1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26" name="Freeform 6"/>
            <p:cNvSpPr>
              <a:spLocks/>
            </p:cNvSpPr>
            <p:nvPr userDrawn="1"/>
          </p:nvSpPr>
          <p:spPr bwMode="auto">
            <a:xfrm>
              <a:off x="4101" y="1524"/>
              <a:ext cx="460" cy="438"/>
            </a:xfrm>
            <a:custGeom>
              <a:avLst/>
              <a:gdLst>
                <a:gd name="T0" fmla="*/ 166 w 194"/>
                <a:gd name="T1" fmla="*/ 26 h 185"/>
                <a:gd name="T2" fmla="*/ 97 w 194"/>
                <a:gd name="T3" fmla="*/ 0 h 185"/>
                <a:gd name="T4" fmla="*/ 29 w 194"/>
                <a:gd name="T5" fmla="*/ 26 h 185"/>
                <a:gd name="T6" fmla="*/ 0 w 194"/>
                <a:gd name="T7" fmla="*/ 93 h 185"/>
                <a:gd name="T8" fmla="*/ 29 w 194"/>
                <a:gd name="T9" fmla="*/ 161 h 185"/>
                <a:gd name="T10" fmla="*/ 97 w 194"/>
                <a:gd name="T11" fmla="*/ 185 h 185"/>
                <a:gd name="T12" fmla="*/ 166 w 194"/>
                <a:gd name="T13" fmla="*/ 161 h 185"/>
                <a:gd name="T14" fmla="*/ 194 w 194"/>
                <a:gd name="T15" fmla="*/ 93 h 185"/>
                <a:gd name="T16" fmla="*/ 166 w 194"/>
                <a:gd name="T17" fmla="*/ 2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185">
                  <a:moveTo>
                    <a:pt x="166" y="26"/>
                  </a:moveTo>
                  <a:cubicBezTo>
                    <a:pt x="147" y="9"/>
                    <a:pt x="124" y="0"/>
                    <a:pt x="97" y="0"/>
                  </a:cubicBezTo>
                  <a:cubicBezTo>
                    <a:pt x="70" y="0"/>
                    <a:pt x="47" y="9"/>
                    <a:pt x="29" y="26"/>
                  </a:cubicBezTo>
                  <a:cubicBezTo>
                    <a:pt x="10" y="42"/>
                    <a:pt x="0" y="65"/>
                    <a:pt x="0" y="93"/>
                  </a:cubicBezTo>
                  <a:cubicBezTo>
                    <a:pt x="0" y="122"/>
                    <a:pt x="10" y="144"/>
                    <a:pt x="29" y="161"/>
                  </a:cubicBezTo>
                  <a:cubicBezTo>
                    <a:pt x="47" y="177"/>
                    <a:pt x="70" y="185"/>
                    <a:pt x="97" y="185"/>
                  </a:cubicBezTo>
                  <a:cubicBezTo>
                    <a:pt x="124" y="185"/>
                    <a:pt x="147" y="177"/>
                    <a:pt x="166" y="161"/>
                  </a:cubicBezTo>
                  <a:cubicBezTo>
                    <a:pt x="185" y="144"/>
                    <a:pt x="194" y="122"/>
                    <a:pt x="194" y="93"/>
                  </a:cubicBezTo>
                  <a:cubicBezTo>
                    <a:pt x="194" y="65"/>
                    <a:pt x="185" y="42"/>
                    <a:pt x="166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27" name="Freeform 7"/>
            <p:cNvSpPr>
              <a:spLocks/>
            </p:cNvSpPr>
            <p:nvPr userDrawn="1"/>
          </p:nvSpPr>
          <p:spPr bwMode="auto">
            <a:xfrm>
              <a:off x="4096" y="2033"/>
              <a:ext cx="456" cy="735"/>
            </a:xfrm>
            <a:custGeom>
              <a:avLst/>
              <a:gdLst>
                <a:gd name="T0" fmla="*/ 33 w 192"/>
                <a:gd name="T1" fmla="*/ 308 h 310"/>
                <a:gd name="T2" fmla="*/ 192 w 192"/>
                <a:gd name="T3" fmla="*/ 114 h 310"/>
                <a:gd name="T4" fmla="*/ 96 w 192"/>
                <a:gd name="T5" fmla="*/ 0 h 310"/>
                <a:gd name="T6" fmla="*/ 0 w 192"/>
                <a:gd name="T7" fmla="*/ 90 h 310"/>
                <a:gd name="T8" fmla="*/ 44 w 192"/>
                <a:gd name="T9" fmla="*/ 169 h 310"/>
                <a:gd name="T10" fmla="*/ 18 w 192"/>
                <a:gd name="T11" fmla="*/ 250 h 310"/>
                <a:gd name="T12" fmla="*/ 24 w 192"/>
                <a:gd name="T13" fmla="*/ 302 h 310"/>
                <a:gd name="T14" fmla="*/ 33 w 192"/>
                <a:gd name="T15" fmla="*/ 308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310">
                  <a:moveTo>
                    <a:pt x="33" y="308"/>
                  </a:moveTo>
                  <a:cubicBezTo>
                    <a:pt x="133" y="264"/>
                    <a:pt x="192" y="198"/>
                    <a:pt x="192" y="114"/>
                  </a:cubicBezTo>
                  <a:cubicBezTo>
                    <a:pt x="192" y="41"/>
                    <a:pt x="149" y="0"/>
                    <a:pt x="96" y="0"/>
                  </a:cubicBezTo>
                  <a:cubicBezTo>
                    <a:pt x="43" y="0"/>
                    <a:pt x="0" y="38"/>
                    <a:pt x="0" y="90"/>
                  </a:cubicBezTo>
                  <a:cubicBezTo>
                    <a:pt x="0" y="122"/>
                    <a:pt x="14" y="153"/>
                    <a:pt x="44" y="169"/>
                  </a:cubicBezTo>
                  <a:cubicBezTo>
                    <a:pt x="26" y="194"/>
                    <a:pt x="18" y="221"/>
                    <a:pt x="18" y="250"/>
                  </a:cubicBezTo>
                  <a:cubicBezTo>
                    <a:pt x="18" y="266"/>
                    <a:pt x="20" y="283"/>
                    <a:pt x="24" y="302"/>
                  </a:cubicBezTo>
                  <a:cubicBezTo>
                    <a:pt x="24" y="302"/>
                    <a:pt x="26" y="310"/>
                    <a:pt x="33" y="30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28" name="Freeform 8"/>
            <p:cNvSpPr>
              <a:spLocks/>
            </p:cNvSpPr>
            <p:nvPr userDrawn="1"/>
          </p:nvSpPr>
          <p:spPr bwMode="auto">
            <a:xfrm>
              <a:off x="3114" y="1484"/>
              <a:ext cx="875" cy="1957"/>
            </a:xfrm>
            <a:custGeom>
              <a:avLst/>
              <a:gdLst>
                <a:gd name="T0" fmla="*/ 294 w 369"/>
                <a:gd name="T1" fmla="*/ 28 h 826"/>
                <a:gd name="T2" fmla="*/ 146 w 369"/>
                <a:gd name="T3" fmla="*/ 26 h 826"/>
                <a:gd name="T4" fmla="*/ 137 w 369"/>
                <a:gd name="T5" fmla="*/ 40 h 826"/>
                <a:gd name="T6" fmla="*/ 137 w 369"/>
                <a:gd name="T7" fmla="*/ 40 h 826"/>
                <a:gd name="T8" fmla="*/ 137 w 369"/>
                <a:gd name="T9" fmla="*/ 246 h 826"/>
                <a:gd name="T10" fmla="*/ 137 w 369"/>
                <a:gd name="T11" fmla="*/ 247 h 826"/>
                <a:gd name="T12" fmla="*/ 137 w 369"/>
                <a:gd name="T13" fmla="*/ 552 h 826"/>
                <a:gd name="T14" fmla="*/ 132 w 369"/>
                <a:gd name="T15" fmla="*/ 598 h 826"/>
                <a:gd name="T16" fmla="*/ 115 w 369"/>
                <a:gd name="T17" fmla="*/ 635 h 826"/>
                <a:gd name="T18" fmla="*/ 80 w 369"/>
                <a:gd name="T19" fmla="*/ 661 h 826"/>
                <a:gd name="T20" fmla="*/ 15 w 369"/>
                <a:gd name="T21" fmla="*/ 675 h 826"/>
                <a:gd name="T22" fmla="*/ 4 w 369"/>
                <a:gd name="T23" fmla="*/ 686 h 826"/>
                <a:gd name="T24" fmla="*/ 4 w 369"/>
                <a:gd name="T25" fmla="*/ 781 h 826"/>
                <a:gd name="T26" fmla="*/ 132 w 369"/>
                <a:gd name="T27" fmla="*/ 824 h 826"/>
                <a:gd name="T28" fmla="*/ 189 w 369"/>
                <a:gd name="T29" fmla="*/ 816 h 826"/>
                <a:gd name="T30" fmla="*/ 253 w 369"/>
                <a:gd name="T31" fmla="*/ 789 h 826"/>
                <a:gd name="T32" fmla="*/ 311 w 369"/>
                <a:gd name="T33" fmla="*/ 740 h 826"/>
                <a:gd name="T34" fmla="*/ 350 w 369"/>
                <a:gd name="T35" fmla="*/ 664 h 826"/>
                <a:gd name="T36" fmla="*/ 360 w 369"/>
                <a:gd name="T37" fmla="*/ 598 h 826"/>
                <a:gd name="T38" fmla="*/ 362 w 369"/>
                <a:gd name="T39" fmla="*/ 536 h 826"/>
                <a:gd name="T40" fmla="*/ 362 w 369"/>
                <a:gd name="T41" fmla="*/ 141 h 826"/>
                <a:gd name="T42" fmla="*/ 294 w 369"/>
                <a:gd name="T43" fmla="*/ 28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9" h="826">
                  <a:moveTo>
                    <a:pt x="294" y="28"/>
                  </a:moveTo>
                  <a:cubicBezTo>
                    <a:pt x="203" y="0"/>
                    <a:pt x="146" y="26"/>
                    <a:pt x="146" y="26"/>
                  </a:cubicBezTo>
                  <a:cubicBezTo>
                    <a:pt x="141" y="29"/>
                    <a:pt x="137" y="34"/>
                    <a:pt x="137" y="40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7"/>
                    <a:pt x="137" y="247"/>
                  </a:cubicBezTo>
                  <a:cubicBezTo>
                    <a:pt x="137" y="552"/>
                    <a:pt x="137" y="552"/>
                    <a:pt x="137" y="552"/>
                  </a:cubicBezTo>
                  <a:cubicBezTo>
                    <a:pt x="137" y="569"/>
                    <a:pt x="135" y="584"/>
                    <a:pt x="132" y="598"/>
                  </a:cubicBezTo>
                  <a:cubicBezTo>
                    <a:pt x="129" y="612"/>
                    <a:pt x="124" y="624"/>
                    <a:pt x="115" y="635"/>
                  </a:cubicBezTo>
                  <a:cubicBezTo>
                    <a:pt x="107" y="645"/>
                    <a:pt x="95" y="654"/>
                    <a:pt x="80" y="661"/>
                  </a:cubicBezTo>
                  <a:cubicBezTo>
                    <a:pt x="80" y="661"/>
                    <a:pt x="55" y="672"/>
                    <a:pt x="15" y="675"/>
                  </a:cubicBezTo>
                  <a:cubicBezTo>
                    <a:pt x="15" y="675"/>
                    <a:pt x="5" y="676"/>
                    <a:pt x="4" y="686"/>
                  </a:cubicBezTo>
                  <a:cubicBezTo>
                    <a:pt x="4" y="686"/>
                    <a:pt x="0" y="758"/>
                    <a:pt x="4" y="781"/>
                  </a:cubicBezTo>
                  <a:cubicBezTo>
                    <a:pt x="6" y="826"/>
                    <a:pt x="132" y="824"/>
                    <a:pt x="132" y="824"/>
                  </a:cubicBezTo>
                  <a:cubicBezTo>
                    <a:pt x="148" y="824"/>
                    <a:pt x="167" y="821"/>
                    <a:pt x="189" y="816"/>
                  </a:cubicBezTo>
                  <a:cubicBezTo>
                    <a:pt x="210" y="811"/>
                    <a:pt x="232" y="802"/>
                    <a:pt x="253" y="789"/>
                  </a:cubicBezTo>
                  <a:cubicBezTo>
                    <a:pt x="275" y="777"/>
                    <a:pt x="294" y="760"/>
                    <a:pt x="311" y="740"/>
                  </a:cubicBezTo>
                  <a:cubicBezTo>
                    <a:pt x="329" y="720"/>
                    <a:pt x="341" y="694"/>
                    <a:pt x="350" y="664"/>
                  </a:cubicBezTo>
                  <a:cubicBezTo>
                    <a:pt x="355" y="645"/>
                    <a:pt x="358" y="623"/>
                    <a:pt x="360" y="598"/>
                  </a:cubicBezTo>
                  <a:cubicBezTo>
                    <a:pt x="361" y="574"/>
                    <a:pt x="362" y="553"/>
                    <a:pt x="362" y="536"/>
                  </a:cubicBezTo>
                  <a:cubicBezTo>
                    <a:pt x="362" y="141"/>
                    <a:pt x="362" y="141"/>
                    <a:pt x="362" y="141"/>
                  </a:cubicBezTo>
                  <a:cubicBezTo>
                    <a:pt x="362" y="141"/>
                    <a:pt x="369" y="51"/>
                    <a:pt x="294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</p:grpSp>
    </p:spTree>
    <p:extLst>
      <p:ext uri="{BB962C8B-B14F-4D97-AF65-F5344CB8AC3E}">
        <p14:creationId xmlns:p14="http://schemas.microsoft.com/office/powerpoint/2010/main" val="847740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4434" y="1913642"/>
            <a:ext cx="3591000" cy="4263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08566" y="1913642"/>
            <a:ext cx="3591000" cy="4263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1C450-5DD6-4F85-835C-D9C188936BBF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6619844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4434" y="1812608"/>
            <a:ext cx="6426926" cy="578717"/>
          </a:xfrm>
        </p:spPr>
        <p:txBody>
          <a:bodyPr bIns="0" anchor="b">
            <a:noAutofit/>
          </a:bodyPr>
          <a:lstStyle>
            <a:lvl1pPr marL="0" indent="0">
              <a:buNone/>
              <a:defRPr sz="220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4434" y="2375588"/>
            <a:ext cx="6426926" cy="13778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4434" y="3888380"/>
            <a:ext cx="6426926" cy="578717"/>
          </a:xfrm>
        </p:spPr>
        <p:txBody>
          <a:bodyPr bIns="0" anchor="b">
            <a:noAutofit/>
          </a:bodyPr>
          <a:lstStyle>
            <a:lvl1pPr marL="0" indent="0">
              <a:buNone/>
              <a:defRPr sz="220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4434" y="4451360"/>
            <a:ext cx="6426926" cy="13778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76064-5D28-4A1C-8EE1-109AE6D3D212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618626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545A5-2F25-46C1-B4DA-1F492F31833D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2045498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0B154-E159-4D54-A732-173DDBD4DB19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9870561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88355" y="0"/>
            <a:ext cx="5655646" cy="6858000"/>
          </a:xfrm>
          <a:custGeom>
            <a:avLst/>
            <a:gdLst>
              <a:gd name="connsiteX0" fmla="*/ 1534495 w 5655646"/>
              <a:gd name="connsiteY0" fmla="*/ 0 h 6858000"/>
              <a:gd name="connsiteX1" fmla="*/ 5655646 w 5655646"/>
              <a:gd name="connsiteY1" fmla="*/ 0 h 6858000"/>
              <a:gd name="connsiteX2" fmla="*/ 5655646 w 5655646"/>
              <a:gd name="connsiteY2" fmla="*/ 6858000 h 6858000"/>
              <a:gd name="connsiteX3" fmla="*/ 0 w 5655646"/>
              <a:gd name="connsiteY3" fmla="*/ 6858000 h 6858000"/>
              <a:gd name="connsiteX4" fmla="*/ 622694 w 5655646"/>
              <a:gd name="connsiteY4" fmla="*/ 6257925 h 6858000"/>
              <a:gd name="connsiteX5" fmla="*/ 1312105 w 5655646"/>
              <a:gd name="connsiteY5" fmla="*/ 4895850 h 6858000"/>
              <a:gd name="connsiteX6" fmla="*/ 1493194 w 5655646"/>
              <a:gd name="connsiteY6" fmla="*/ 3708400 h 6858000"/>
              <a:gd name="connsiteX7" fmla="*/ 1534495 w 5655646"/>
              <a:gd name="connsiteY7" fmla="*/ 2600325 h 6858000"/>
              <a:gd name="connsiteX8" fmla="*/ 1534495 w 5655646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55646" h="6858000">
                <a:moveTo>
                  <a:pt x="1534495" y="0"/>
                </a:moveTo>
                <a:lnTo>
                  <a:pt x="5655646" y="0"/>
                </a:lnTo>
                <a:lnTo>
                  <a:pt x="5655646" y="6858000"/>
                </a:lnTo>
                <a:lnTo>
                  <a:pt x="0" y="6858000"/>
                </a:lnTo>
                <a:cubicBezTo>
                  <a:pt x="222391" y="6686550"/>
                  <a:pt x="432073" y="6486525"/>
                  <a:pt x="622694" y="6257925"/>
                </a:cubicBezTo>
                <a:cubicBezTo>
                  <a:pt x="934041" y="5892800"/>
                  <a:pt x="1162785" y="5438775"/>
                  <a:pt x="1312105" y="4895850"/>
                </a:cubicBezTo>
                <a:cubicBezTo>
                  <a:pt x="1404238" y="4543425"/>
                  <a:pt x="1467778" y="4146550"/>
                  <a:pt x="1493194" y="3708400"/>
                </a:cubicBezTo>
                <a:cubicBezTo>
                  <a:pt x="1521787" y="3267075"/>
                  <a:pt x="1534495" y="2898775"/>
                  <a:pt x="1534495" y="2600325"/>
                </a:cubicBezTo>
                <a:cubicBezTo>
                  <a:pt x="1534495" y="2600325"/>
                  <a:pt x="1534495" y="1409700"/>
                  <a:pt x="153449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IE" dirty="0"/>
          </a:p>
        </p:txBody>
      </p:sp>
      <p:sp>
        <p:nvSpPr>
          <p:cNvPr id="15" name="Freeform 5"/>
          <p:cNvSpPr>
            <a:spLocks/>
          </p:cNvSpPr>
          <p:nvPr userDrawn="1"/>
        </p:nvSpPr>
        <p:spPr bwMode="auto">
          <a:xfrm>
            <a:off x="0" y="0"/>
            <a:ext cx="5022850" cy="6858000"/>
          </a:xfrm>
          <a:custGeom>
            <a:avLst/>
            <a:gdLst>
              <a:gd name="T0" fmla="*/ 0 w 1581"/>
              <a:gd name="T1" fmla="*/ 0 h 2160"/>
              <a:gd name="T2" fmla="*/ 0 w 1581"/>
              <a:gd name="T3" fmla="*/ 2160 h 2160"/>
              <a:gd name="T4" fmla="*/ 1098 w 1581"/>
              <a:gd name="T5" fmla="*/ 2160 h 2160"/>
              <a:gd name="T6" fmla="*/ 1294 w 1581"/>
              <a:gd name="T7" fmla="*/ 1971 h 2160"/>
              <a:gd name="T8" fmla="*/ 1511 w 1581"/>
              <a:gd name="T9" fmla="*/ 1542 h 2160"/>
              <a:gd name="T10" fmla="*/ 1568 w 1581"/>
              <a:gd name="T11" fmla="*/ 1168 h 2160"/>
              <a:gd name="T12" fmla="*/ 1581 w 1581"/>
              <a:gd name="T13" fmla="*/ 819 h 2160"/>
              <a:gd name="T14" fmla="*/ 1581 w 1581"/>
              <a:gd name="T15" fmla="*/ 0 h 2160"/>
              <a:gd name="T16" fmla="*/ 0 w 1581"/>
              <a:gd name="T17" fmla="*/ 0 h 2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81" h="2160">
                <a:moveTo>
                  <a:pt x="0" y="0"/>
                </a:moveTo>
                <a:cubicBezTo>
                  <a:pt x="0" y="2160"/>
                  <a:pt x="0" y="2160"/>
                  <a:pt x="0" y="2160"/>
                </a:cubicBezTo>
                <a:cubicBezTo>
                  <a:pt x="1098" y="2160"/>
                  <a:pt x="1098" y="2160"/>
                  <a:pt x="1098" y="2160"/>
                </a:cubicBezTo>
                <a:cubicBezTo>
                  <a:pt x="1168" y="2106"/>
                  <a:pt x="1234" y="2043"/>
                  <a:pt x="1294" y="1971"/>
                </a:cubicBezTo>
                <a:cubicBezTo>
                  <a:pt x="1392" y="1856"/>
                  <a:pt x="1464" y="1713"/>
                  <a:pt x="1511" y="1542"/>
                </a:cubicBezTo>
                <a:cubicBezTo>
                  <a:pt x="1540" y="1431"/>
                  <a:pt x="1560" y="1306"/>
                  <a:pt x="1568" y="1168"/>
                </a:cubicBezTo>
                <a:cubicBezTo>
                  <a:pt x="1577" y="1029"/>
                  <a:pt x="1581" y="913"/>
                  <a:pt x="1581" y="819"/>
                </a:cubicBezTo>
                <a:cubicBezTo>
                  <a:pt x="1581" y="819"/>
                  <a:pt x="1581" y="444"/>
                  <a:pt x="1581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433" y="2228850"/>
            <a:ext cx="3498941" cy="2597149"/>
          </a:xfrm>
        </p:spPr>
        <p:txBody>
          <a:bodyPr anchor="t" anchorCtr="0">
            <a:noAutofit/>
          </a:bodyPr>
          <a:lstStyle>
            <a:lvl1pPr marL="170260" indent="-170260">
              <a:lnSpc>
                <a:spcPct val="85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C82FCAE-FC28-4BF6-ABB0-183A0D91E164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52188" y="6299790"/>
            <a:ext cx="379664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8099" y="1677987"/>
            <a:ext cx="2875326" cy="262255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09558" y="6036468"/>
            <a:ext cx="895570" cy="5900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36846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5381625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3637214 h 6858000"/>
              <a:gd name="connsiteX5" fmla="*/ 1365250 w 9144000"/>
              <a:gd name="connsiteY5" fmla="*/ 3830987 h 6858000"/>
              <a:gd name="connsiteX6" fmla="*/ 4210050 w 9144000"/>
              <a:gd name="connsiteY6" fmla="*/ 2808120 h 6858000"/>
              <a:gd name="connsiteX7" fmla="*/ 5381625 w 9144000"/>
              <a:gd name="connsiteY7" fmla="*/ 22236 h 6858000"/>
              <a:gd name="connsiteX8" fmla="*/ 5381625 w 9144000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0" h="6858000">
                <a:moveTo>
                  <a:pt x="5381625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lnTo>
                  <a:pt x="0" y="3637214"/>
                </a:lnTo>
                <a:cubicBezTo>
                  <a:pt x="422275" y="3767455"/>
                  <a:pt x="876300" y="3830987"/>
                  <a:pt x="1365250" y="3830987"/>
                </a:cubicBezTo>
                <a:cubicBezTo>
                  <a:pt x="2486025" y="3830987"/>
                  <a:pt x="3435350" y="3491090"/>
                  <a:pt x="4210050" y="2808120"/>
                </a:cubicBezTo>
                <a:cubicBezTo>
                  <a:pt x="4987925" y="2125150"/>
                  <a:pt x="5381625" y="1197581"/>
                  <a:pt x="5381625" y="22236"/>
                </a:cubicBezTo>
                <a:cubicBezTo>
                  <a:pt x="5381625" y="12707"/>
                  <a:pt x="5381625" y="6353"/>
                  <a:pt x="538162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IE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0" y="0"/>
            <a:ext cx="5381625" cy="3830987"/>
          </a:xfrm>
          <a:custGeom>
            <a:avLst/>
            <a:gdLst>
              <a:gd name="T0" fmla="*/ 0 w 1695"/>
              <a:gd name="T1" fmla="*/ 1145 h 1206"/>
              <a:gd name="T2" fmla="*/ 430 w 1695"/>
              <a:gd name="T3" fmla="*/ 1206 h 1206"/>
              <a:gd name="T4" fmla="*/ 1326 w 1695"/>
              <a:gd name="T5" fmla="*/ 884 h 1206"/>
              <a:gd name="T6" fmla="*/ 1695 w 1695"/>
              <a:gd name="T7" fmla="*/ 7 h 1206"/>
              <a:gd name="T8" fmla="*/ 1695 w 1695"/>
              <a:gd name="T9" fmla="*/ 0 h 1206"/>
              <a:gd name="T10" fmla="*/ 0 w 1695"/>
              <a:gd name="T11" fmla="*/ 0 h 1206"/>
              <a:gd name="T12" fmla="*/ 0 w 1695"/>
              <a:gd name="T13" fmla="*/ 1145 h 12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95" h="1206">
                <a:moveTo>
                  <a:pt x="0" y="1145"/>
                </a:moveTo>
                <a:cubicBezTo>
                  <a:pt x="133" y="1186"/>
                  <a:pt x="276" y="1206"/>
                  <a:pt x="430" y="1206"/>
                </a:cubicBezTo>
                <a:cubicBezTo>
                  <a:pt x="783" y="1206"/>
                  <a:pt x="1082" y="1099"/>
                  <a:pt x="1326" y="884"/>
                </a:cubicBezTo>
                <a:cubicBezTo>
                  <a:pt x="1571" y="669"/>
                  <a:pt x="1695" y="377"/>
                  <a:pt x="1695" y="7"/>
                </a:cubicBezTo>
                <a:cubicBezTo>
                  <a:pt x="1695" y="4"/>
                  <a:pt x="1695" y="2"/>
                  <a:pt x="1695" y="0"/>
                </a:cubicBezTo>
                <a:cubicBezTo>
                  <a:pt x="0" y="0"/>
                  <a:pt x="0" y="0"/>
                  <a:pt x="0" y="0"/>
                </a:cubicBezTo>
                <a:lnTo>
                  <a:pt x="0" y="114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535940"/>
            <a:ext cx="4133850" cy="2219960"/>
          </a:xfrm>
        </p:spPr>
        <p:txBody>
          <a:bodyPr anchor="t" anchorCtr="0">
            <a:noAutofit/>
          </a:bodyPr>
          <a:lstStyle>
            <a:lvl1pPr marL="180975" indent="-180975">
              <a:lnSpc>
                <a:spcPct val="85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3872A9-511F-4958-A501-F8ED6EE449A3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8099" y="1677987"/>
            <a:ext cx="2875326" cy="262255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09558" y="6036468"/>
            <a:ext cx="895570" cy="5900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83577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With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3488355" y="0"/>
            <a:ext cx="5655646" cy="6858000"/>
          </a:xfrm>
          <a:custGeom>
            <a:avLst/>
            <a:gdLst>
              <a:gd name="connsiteX0" fmla="*/ 1534495 w 5655646"/>
              <a:gd name="connsiteY0" fmla="*/ 0 h 6858000"/>
              <a:gd name="connsiteX1" fmla="*/ 5655646 w 5655646"/>
              <a:gd name="connsiteY1" fmla="*/ 0 h 6858000"/>
              <a:gd name="connsiteX2" fmla="*/ 5655646 w 5655646"/>
              <a:gd name="connsiteY2" fmla="*/ 6858000 h 6858000"/>
              <a:gd name="connsiteX3" fmla="*/ 0 w 5655646"/>
              <a:gd name="connsiteY3" fmla="*/ 6858000 h 6858000"/>
              <a:gd name="connsiteX4" fmla="*/ 622694 w 5655646"/>
              <a:gd name="connsiteY4" fmla="*/ 6257925 h 6858000"/>
              <a:gd name="connsiteX5" fmla="*/ 1312105 w 5655646"/>
              <a:gd name="connsiteY5" fmla="*/ 4895850 h 6858000"/>
              <a:gd name="connsiteX6" fmla="*/ 1493194 w 5655646"/>
              <a:gd name="connsiteY6" fmla="*/ 3708400 h 6858000"/>
              <a:gd name="connsiteX7" fmla="*/ 1534495 w 5655646"/>
              <a:gd name="connsiteY7" fmla="*/ 2600325 h 6858000"/>
              <a:gd name="connsiteX8" fmla="*/ 1534495 w 5655646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55646" h="6858000">
                <a:moveTo>
                  <a:pt x="1534495" y="0"/>
                </a:moveTo>
                <a:lnTo>
                  <a:pt x="5655646" y="0"/>
                </a:lnTo>
                <a:lnTo>
                  <a:pt x="5655646" y="6858000"/>
                </a:lnTo>
                <a:lnTo>
                  <a:pt x="0" y="6858000"/>
                </a:lnTo>
                <a:cubicBezTo>
                  <a:pt x="222391" y="6686550"/>
                  <a:pt x="432073" y="6486525"/>
                  <a:pt x="622694" y="6257925"/>
                </a:cubicBezTo>
                <a:cubicBezTo>
                  <a:pt x="934041" y="5892800"/>
                  <a:pt x="1162785" y="5438775"/>
                  <a:pt x="1312105" y="4895850"/>
                </a:cubicBezTo>
                <a:cubicBezTo>
                  <a:pt x="1404238" y="4543425"/>
                  <a:pt x="1467778" y="4146550"/>
                  <a:pt x="1493194" y="3708400"/>
                </a:cubicBezTo>
                <a:cubicBezTo>
                  <a:pt x="1521787" y="3267075"/>
                  <a:pt x="1534495" y="2898775"/>
                  <a:pt x="1534495" y="2600325"/>
                </a:cubicBezTo>
                <a:cubicBezTo>
                  <a:pt x="1534495" y="2600325"/>
                  <a:pt x="1534495" y="1409700"/>
                  <a:pt x="153449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IE" dirty="0"/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0" y="0"/>
            <a:ext cx="5022850" cy="6858000"/>
          </a:xfrm>
          <a:custGeom>
            <a:avLst/>
            <a:gdLst>
              <a:gd name="T0" fmla="*/ 0 w 1581"/>
              <a:gd name="T1" fmla="*/ 0 h 2160"/>
              <a:gd name="T2" fmla="*/ 0 w 1581"/>
              <a:gd name="T3" fmla="*/ 2160 h 2160"/>
              <a:gd name="T4" fmla="*/ 1098 w 1581"/>
              <a:gd name="T5" fmla="*/ 2160 h 2160"/>
              <a:gd name="T6" fmla="*/ 1294 w 1581"/>
              <a:gd name="T7" fmla="*/ 1971 h 2160"/>
              <a:gd name="T8" fmla="*/ 1511 w 1581"/>
              <a:gd name="T9" fmla="*/ 1542 h 2160"/>
              <a:gd name="T10" fmla="*/ 1568 w 1581"/>
              <a:gd name="T11" fmla="*/ 1168 h 2160"/>
              <a:gd name="T12" fmla="*/ 1581 w 1581"/>
              <a:gd name="T13" fmla="*/ 819 h 2160"/>
              <a:gd name="T14" fmla="*/ 1581 w 1581"/>
              <a:gd name="T15" fmla="*/ 0 h 2160"/>
              <a:gd name="T16" fmla="*/ 0 w 1581"/>
              <a:gd name="T17" fmla="*/ 0 h 2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81" h="2160">
                <a:moveTo>
                  <a:pt x="0" y="0"/>
                </a:moveTo>
                <a:cubicBezTo>
                  <a:pt x="0" y="2160"/>
                  <a:pt x="0" y="2160"/>
                  <a:pt x="0" y="2160"/>
                </a:cubicBezTo>
                <a:cubicBezTo>
                  <a:pt x="1098" y="2160"/>
                  <a:pt x="1098" y="2160"/>
                  <a:pt x="1098" y="2160"/>
                </a:cubicBezTo>
                <a:cubicBezTo>
                  <a:pt x="1168" y="2106"/>
                  <a:pt x="1234" y="2043"/>
                  <a:pt x="1294" y="1971"/>
                </a:cubicBezTo>
                <a:cubicBezTo>
                  <a:pt x="1392" y="1856"/>
                  <a:pt x="1464" y="1713"/>
                  <a:pt x="1511" y="1542"/>
                </a:cubicBezTo>
                <a:cubicBezTo>
                  <a:pt x="1540" y="1431"/>
                  <a:pt x="1560" y="1306"/>
                  <a:pt x="1568" y="1168"/>
                </a:cubicBezTo>
                <a:cubicBezTo>
                  <a:pt x="1577" y="1029"/>
                  <a:pt x="1581" y="913"/>
                  <a:pt x="1581" y="819"/>
                </a:cubicBezTo>
                <a:cubicBezTo>
                  <a:pt x="1581" y="819"/>
                  <a:pt x="1581" y="444"/>
                  <a:pt x="1581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A6BF5696-1C11-4631-92B1-7340C15B0ED6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52188" y="6299790"/>
            <a:ext cx="379664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8099" y="1677987"/>
            <a:ext cx="2875326" cy="262255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54672" y="1650280"/>
            <a:ext cx="3379166" cy="4386188"/>
          </a:xfrm>
        </p:spPr>
        <p:txBody>
          <a:bodyPr>
            <a:noAutofit/>
          </a:bodyPr>
          <a:lstStyle>
            <a:lvl1pPr marL="0" indent="0">
              <a:spcBef>
                <a:spcPts val="2700"/>
              </a:spcBef>
              <a:buNone/>
              <a:defRPr sz="24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09558" y="6036468"/>
            <a:ext cx="895570" cy="5900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23057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6577" y="673644"/>
            <a:ext cx="3549663" cy="82423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6577" y="1654629"/>
            <a:ext cx="3549663" cy="41191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693920" y="1654629"/>
            <a:ext cx="3770811" cy="4119155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E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56577" y="562519"/>
            <a:ext cx="3549663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B63B19B-A4BE-40B2-861C-B80B60FD195E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08621" y="6042659"/>
            <a:ext cx="891540" cy="5691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48562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only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7F08F3D-35A4-4704-9538-F15B2D49321C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9144000" y="3410558"/>
            <a:ext cx="1907510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50" dirty="0"/>
              <a:t>Use Format Background </a:t>
            </a:r>
            <a:br>
              <a:rPr lang="en-GB" sz="1350" dirty="0"/>
            </a:br>
            <a:r>
              <a:rPr lang="en-GB" sz="1350" dirty="0"/>
              <a:t>to change the image fill</a:t>
            </a:r>
            <a:endParaRPr lang="en-IE" sz="1350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12905" y="6033760"/>
            <a:ext cx="888207" cy="58523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6821373" y="339758"/>
            <a:ext cx="1940679" cy="3432065"/>
            <a:chOff x="3114" y="882"/>
            <a:chExt cx="1447" cy="2559"/>
          </a:xfrm>
          <a:solidFill>
            <a:schemeClr val="bg1"/>
          </a:solidFill>
        </p:grpSpPr>
        <p:sp>
          <p:nvSpPr>
            <p:cNvPr id="20" name="Freeform 5"/>
            <p:cNvSpPr>
              <a:spLocks/>
            </p:cNvSpPr>
            <p:nvPr userDrawn="1"/>
          </p:nvSpPr>
          <p:spPr bwMode="auto">
            <a:xfrm>
              <a:off x="3425" y="882"/>
              <a:ext cx="526" cy="500"/>
            </a:xfrm>
            <a:custGeom>
              <a:avLst/>
              <a:gdLst>
                <a:gd name="T0" fmla="*/ 32 w 222"/>
                <a:gd name="T1" fmla="*/ 183 h 211"/>
                <a:gd name="T2" fmla="*/ 111 w 222"/>
                <a:gd name="T3" fmla="*/ 211 h 211"/>
                <a:gd name="T4" fmla="*/ 190 w 222"/>
                <a:gd name="T5" fmla="*/ 183 h 211"/>
                <a:gd name="T6" fmla="*/ 222 w 222"/>
                <a:gd name="T7" fmla="*/ 106 h 211"/>
                <a:gd name="T8" fmla="*/ 190 w 222"/>
                <a:gd name="T9" fmla="*/ 29 h 211"/>
                <a:gd name="T10" fmla="*/ 111 w 222"/>
                <a:gd name="T11" fmla="*/ 0 h 211"/>
                <a:gd name="T12" fmla="*/ 32 w 222"/>
                <a:gd name="T13" fmla="*/ 29 h 211"/>
                <a:gd name="T14" fmla="*/ 0 w 222"/>
                <a:gd name="T15" fmla="*/ 106 h 211"/>
                <a:gd name="T16" fmla="*/ 32 w 222"/>
                <a:gd name="T17" fmla="*/ 183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2" h="211">
                  <a:moveTo>
                    <a:pt x="32" y="183"/>
                  </a:moveTo>
                  <a:cubicBezTo>
                    <a:pt x="54" y="202"/>
                    <a:pt x="80" y="211"/>
                    <a:pt x="111" y="211"/>
                  </a:cubicBezTo>
                  <a:cubicBezTo>
                    <a:pt x="142" y="211"/>
                    <a:pt x="168" y="202"/>
                    <a:pt x="190" y="183"/>
                  </a:cubicBezTo>
                  <a:cubicBezTo>
                    <a:pt x="211" y="164"/>
                    <a:pt x="222" y="139"/>
                    <a:pt x="222" y="106"/>
                  </a:cubicBezTo>
                  <a:cubicBezTo>
                    <a:pt x="222" y="74"/>
                    <a:pt x="211" y="48"/>
                    <a:pt x="190" y="29"/>
                  </a:cubicBezTo>
                  <a:cubicBezTo>
                    <a:pt x="168" y="10"/>
                    <a:pt x="142" y="0"/>
                    <a:pt x="111" y="0"/>
                  </a:cubicBezTo>
                  <a:cubicBezTo>
                    <a:pt x="80" y="0"/>
                    <a:pt x="54" y="10"/>
                    <a:pt x="32" y="29"/>
                  </a:cubicBezTo>
                  <a:cubicBezTo>
                    <a:pt x="11" y="48"/>
                    <a:pt x="0" y="74"/>
                    <a:pt x="0" y="106"/>
                  </a:cubicBezTo>
                  <a:cubicBezTo>
                    <a:pt x="0" y="139"/>
                    <a:pt x="11" y="164"/>
                    <a:pt x="32" y="1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4101" y="1524"/>
              <a:ext cx="460" cy="438"/>
            </a:xfrm>
            <a:custGeom>
              <a:avLst/>
              <a:gdLst>
                <a:gd name="T0" fmla="*/ 166 w 194"/>
                <a:gd name="T1" fmla="*/ 26 h 185"/>
                <a:gd name="T2" fmla="*/ 97 w 194"/>
                <a:gd name="T3" fmla="*/ 0 h 185"/>
                <a:gd name="T4" fmla="*/ 29 w 194"/>
                <a:gd name="T5" fmla="*/ 26 h 185"/>
                <a:gd name="T6" fmla="*/ 0 w 194"/>
                <a:gd name="T7" fmla="*/ 93 h 185"/>
                <a:gd name="T8" fmla="*/ 29 w 194"/>
                <a:gd name="T9" fmla="*/ 161 h 185"/>
                <a:gd name="T10" fmla="*/ 97 w 194"/>
                <a:gd name="T11" fmla="*/ 185 h 185"/>
                <a:gd name="T12" fmla="*/ 166 w 194"/>
                <a:gd name="T13" fmla="*/ 161 h 185"/>
                <a:gd name="T14" fmla="*/ 194 w 194"/>
                <a:gd name="T15" fmla="*/ 93 h 185"/>
                <a:gd name="T16" fmla="*/ 166 w 194"/>
                <a:gd name="T17" fmla="*/ 2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185">
                  <a:moveTo>
                    <a:pt x="166" y="26"/>
                  </a:moveTo>
                  <a:cubicBezTo>
                    <a:pt x="147" y="9"/>
                    <a:pt x="124" y="0"/>
                    <a:pt x="97" y="0"/>
                  </a:cubicBezTo>
                  <a:cubicBezTo>
                    <a:pt x="70" y="0"/>
                    <a:pt x="47" y="9"/>
                    <a:pt x="29" y="26"/>
                  </a:cubicBezTo>
                  <a:cubicBezTo>
                    <a:pt x="10" y="42"/>
                    <a:pt x="0" y="65"/>
                    <a:pt x="0" y="93"/>
                  </a:cubicBezTo>
                  <a:cubicBezTo>
                    <a:pt x="0" y="122"/>
                    <a:pt x="10" y="144"/>
                    <a:pt x="29" y="161"/>
                  </a:cubicBezTo>
                  <a:cubicBezTo>
                    <a:pt x="47" y="177"/>
                    <a:pt x="70" y="185"/>
                    <a:pt x="97" y="185"/>
                  </a:cubicBezTo>
                  <a:cubicBezTo>
                    <a:pt x="124" y="185"/>
                    <a:pt x="147" y="177"/>
                    <a:pt x="166" y="161"/>
                  </a:cubicBezTo>
                  <a:cubicBezTo>
                    <a:pt x="185" y="144"/>
                    <a:pt x="194" y="122"/>
                    <a:pt x="194" y="93"/>
                  </a:cubicBezTo>
                  <a:cubicBezTo>
                    <a:pt x="194" y="65"/>
                    <a:pt x="185" y="42"/>
                    <a:pt x="166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22" name="Freeform 7"/>
            <p:cNvSpPr>
              <a:spLocks/>
            </p:cNvSpPr>
            <p:nvPr userDrawn="1"/>
          </p:nvSpPr>
          <p:spPr bwMode="auto">
            <a:xfrm>
              <a:off x="4096" y="2033"/>
              <a:ext cx="456" cy="735"/>
            </a:xfrm>
            <a:custGeom>
              <a:avLst/>
              <a:gdLst>
                <a:gd name="T0" fmla="*/ 33 w 192"/>
                <a:gd name="T1" fmla="*/ 308 h 310"/>
                <a:gd name="T2" fmla="*/ 192 w 192"/>
                <a:gd name="T3" fmla="*/ 114 h 310"/>
                <a:gd name="T4" fmla="*/ 96 w 192"/>
                <a:gd name="T5" fmla="*/ 0 h 310"/>
                <a:gd name="T6" fmla="*/ 0 w 192"/>
                <a:gd name="T7" fmla="*/ 90 h 310"/>
                <a:gd name="T8" fmla="*/ 44 w 192"/>
                <a:gd name="T9" fmla="*/ 169 h 310"/>
                <a:gd name="T10" fmla="*/ 18 w 192"/>
                <a:gd name="T11" fmla="*/ 250 h 310"/>
                <a:gd name="T12" fmla="*/ 24 w 192"/>
                <a:gd name="T13" fmla="*/ 302 h 310"/>
                <a:gd name="T14" fmla="*/ 33 w 192"/>
                <a:gd name="T15" fmla="*/ 308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310">
                  <a:moveTo>
                    <a:pt x="33" y="308"/>
                  </a:moveTo>
                  <a:cubicBezTo>
                    <a:pt x="133" y="264"/>
                    <a:pt x="192" y="198"/>
                    <a:pt x="192" y="114"/>
                  </a:cubicBezTo>
                  <a:cubicBezTo>
                    <a:pt x="192" y="41"/>
                    <a:pt x="149" y="0"/>
                    <a:pt x="96" y="0"/>
                  </a:cubicBezTo>
                  <a:cubicBezTo>
                    <a:pt x="43" y="0"/>
                    <a:pt x="0" y="38"/>
                    <a:pt x="0" y="90"/>
                  </a:cubicBezTo>
                  <a:cubicBezTo>
                    <a:pt x="0" y="122"/>
                    <a:pt x="14" y="153"/>
                    <a:pt x="44" y="169"/>
                  </a:cubicBezTo>
                  <a:cubicBezTo>
                    <a:pt x="26" y="194"/>
                    <a:pt x="18" y="221"/>
                    <a:pt x="18" y="250"/>
                  </a:cubicBezTo>
                  <a:cubicBezTo>
                    <a:pt x="18" y="266"/>
                    <a:pt x="20" y="283"/>
                    <a:pt x="24" y="302"/>
                  </a:cubicBezTo>
                  <a:cubicBezTo>
                    <a:pt x="24" y="302"/>
                    <a:pt x="26" y="310"/>
                    <a:pt x="33" y="30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3114" y="1484"/>
              <a:ext cx="875" cy="1957"/>
            </a:xfrm>
            <a:custGeom>
              <a:avLst/>
              <a:gdLst>
                <a:gd name="T0" fmla="*/ 294 w 369"/>
                <a:gd name="T1" fmla="*/ 28 h 826"/>
                <a:gd name="T2" fmla="*/ 146 w 369"/>
                <a:gd name="T3" fmla="*/ 26 h 826"/>
                <a:gd name="T4" fmla="*/ 137 w 369"/>
                <a:gd name="T5" fmla="*/ 40 h 826"/>
                <a:gd name="T6" fmla="*/ 137 w 369"/>
                <a:gd name="T7" fmla="*/ 40 h 826"/>
                <a:gd name="T8" fmla="*/ 137 w 369"/>
                <a:gd name="T9" fmla="*/ 246 h 826"/>
                <a:gd name="T10" fmla="*/ 137 w 369"/>
                <a:gd name="T11" fmla="*/ 247 h 826"/>
                <a:gd name="T12" fmla="*/ 137 w 369"/>
                <a:gd name="T13" fmla="*/ 552 h 826"/>
                <a:gd name="T14" fmla="*/ 132 w 369"/>
                <a:gd name="T15" fmla="*/ 598 h 826"/>
                <a:gd name="T16" fmla="*/ 115 w 369"/>
                <a:gd name="T17" fmla="*/ 635 h 826"/>
                <a:gd name="T18" fmla="*/ 80 w 369"/>
                <a:gd name="T19" fmla="*/ 661 h 826"/>
                <a:gd name="T20" fmla="*/ 15 w 369"/>
                <a:gd name="T21" fmla="*/ 675 h 826"/>
                <a:gd name="T22" fmla="*/ 4 w 369"/>
                <a:gd name="T23" fmla="*/ 686 h 826"/>
                <a:gd name="T24" fmla="*/ 4 w 369"/>
                <a:gd name="T25" fmla="*/ 781 h 826"/>
                <a:gd name="T26" fmla="*/ 132 w 369"/>
                <a:gd name="T27" fmla="*/ 824 h 826"/>
                <a:gd name="T28" fmla="*/ 189 w 369"/>
                <a:gd name="T29" fmla="*/ 816 h 826"/>
                <a:gd name="T30" fmla="*/ 253 w 369"/>
                <a:gd name="T31" fmla="*/ 789 h 826"/>
                <a:gd name="T32" fmla="*/ 311 w 369"/>
                <a:gd name="T33" fmla="*/ 740 h 826"/>
                <a:gd name="T34" fmla="*/ 350 w 369"/>
                <a:gd name="T35" fmla="*/ 664 h 826"/>
                <a:gd name="T36" fmla="*/ 360 w 369"/>
                <a:gd name="T37" fmla="*/ 598 h 826"/>
                <a:gd name="T38" fmla="*/ 362 w 369"/>
                <a:gd name="T39" fmla="*/ 536 h 826"/>
                <a:gd name="T40" fmla="*/ 362 w 369"/>
                <a:gd name="T41" fmla="*/ 141 h 826"/>
                <a:gd name="T42" fmla="*/ 294 w 369"/>
                <a:gd name="T43" fmla="*/ 28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9" h="826">
                  <a:moveTo>
                    <a:pt x="294" y="28"/>
                  </a:moveTo>
                  <a:cubicBezTo>
                    <a:pt x="203" y="0"/>
                    <a:pt x="146" y="26"/>
                    <a:pt x="146" y="26"/>
                  </a:cubicBezTo>
                  <a:cubicBezTo>
                    <a:pt x="141" y="29"/>
                    <a:pt x="137" y="34"/>
                    <a:pt x="137" y="40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7"/>
                    <a:pt x="137" y="247"/>
                  </a:cubicBezTo>
                  <a:cubicBezTo>
                    <a:pt x="137" y="552"/>
                    <a:pt x="137" y="552"/>
                    <a:pt x="137" y="552"/>
                  </a:cubicBezTo>
                  <a:cubicBezTo>
                    <a:pt x="137" y="569"/>
                    <a:pt x="135" y="584"/>
                    <a:pt x="132" y="598"/>
                  </a:cubicBezTo>
                  <a:cubicBezTo>
                    <a:pt x="129" y="612"/>
                    <a:pt x="124" y="624"/>
                    <a:pt x="115" y="635"/>
                  </a:cubicBezTo>
                  <a:cubicBezTo>
                    <a:pt x="107" y="645"/>
                    <a:pt x="95" y="654"/>
                    <a:pt x="80" y="661"/>
                  </a:cubicBezTo>
                  <a:cubicBezTo>
                    <a:pt x="80" y="661"/>
                    <a:pt x="55" y="672"/>
                    <a:pt x="15" y="675"/>
                  </a:cubicBezTo>
                  <a:cubicBezTo>
                    <a:pt x="15" y="675"/>
                    <a:pt x="5" y="676"/>
                    <a:pt x="4" y="686"/>
                  </a:cubicBezTo>
                  <a:cubicBezTo>
                    <a:pt x="4" y="686"/>
                    <a:pt x="0" y="758"/>
                    <a:pt x="4" y="781"/>
                  </a:cubicBezTo>
                  <a:cubicBezTo>
                    <a:pt x="6" y="826"/>
                    <a:pt x="132" y="824"/>
                    <a:pt x="132" y="824"/>
                  </a:cubicBezTo>
                  <a:cubicBezTo>
                    <a:pt x="148" y="824"/>
                    <a:pt x="167" y="821"/>
                    <a:pt x="189" y="816"/>
                  </a:cubicBezTo>
                  <a:cubicBezTo>
                    <a:pt x="210" y="811"/>
                    <a:pt x="232" y="802"/>
                    <a:pt x="253" y="789"/>
                  </a:cubicBezTo>
                  <a:cubicBezTo>
                    <a:pt x="275" y="777"/>
                    <a:pt x="294" y="760"/>
                    <a:pt x="311" y="740"/>
                  </a:cubicBezTo>
                  <a:cubicBezTo>
                    <a:pt x="329" y="720"/>
                    <a:pt x="341" y="694"/>
                    <a:pt x="350" y="664"/>
                  </a:cubicBezTo>
                  <a:cubicBezTo>
                    <a:pt x="355" y="645"/>
                    <a:pt x="358" y="623"/>
                    <a:pt x="360" y="598"/>
                  </a:cubicBezTo>
                  <a:cubicBezTo>
                    <a:pt x="361" y="574"/>
                    <a:pt x="362" y="553"/>
                    <a:pt x="362" y="536"/>
                  </a:cubicBezTo>
                  <a:cubicBezTo>
                    <a:pt x="362" y="141"/>
                    <a:pt x="362" y="141"/>
                    <a:pt x="362" y="141"/>
                  </a:cubicBezTo>
                  <a:cubicBezTo>
                    <a:pt x="362" y="141"/>
                    <a:pt x="369" y="51"/>
                    <a:pt x="294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</p:grpSp>
    </p:spTree>
    <p:extLst>
      <p:ext uri="{BB962C8B-B14F-4D97-AF65-F5344CB8AC3E}">
        <p14:creationId xmlns:p14="http://schemas.microsoft.com/office/powerpoint/2010/main" val="20506779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0"/>
            <a:ext cx="8307977" cy="6093959"/>
          </a:xfrm>
          <a:custGeom>
            <a:avLst/>
            <a:gdLst>
              <a:gd name="T0" fmla="*/ 0 w 2616"/>
              <a:gd name="T1" fmla="*/ 0 h 1918"/>
              <a:gd name="T2" fmla="*/ 0 w 2616"/>
              <a:gd name="T3" fmla="*/ 1893 h 1918"/>
              <a:gd name="T4" fmla="*/ 441 w 2616"/>
              <a:gd name="T5" fmla="*/ 1915 h 1918"/>
              <a:gd name="T6" fmla="*/ 986 w 2616"/>
              <a:gd name="T7" fmla="*/ 1839 h 1918"/>
              <a:gd name="T8" fmla="*/ 1612 w 2616"/>
              <a:gd name="T9" fmla="*/ 1581 h 1918"/>
              <a:gd name="T10" fmla="*/ 2173 w 2616"/>
              <a:gd name="T11" fmla="*/ 1105 h 1918"/>
              <a:gd name="T12" fmla="*/ 2543 w 2616"/>
              <a:gd name="T13" fmla="*/ 372 h 1918"/>
              <a:gd name="T14" fmla="*/ 2616 w 2616"/>
              <a:gd name="T15" fmla="*/ 0 h 1918"/>
              <a:gd name="T16" fmla="*/ 0 w 2616"/>
              <a:gd name="T17" fmla="*/ 0 h 1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16" h="1918">
                <a:moveTo>
                  <a:pt x="0" y="0"/>
                </a:moveTo>
                <a:cubicBezTo>
                  <a:pt x="0" y="1893"/>
                  <a:pt x="0" y="1893"/>
                  <a:pt x="0" y="1893"/>
                </a:cubicBezTo>
                <a:cubicBezTo>
                  <a:pt x="240" y="1918"/>
                  <a:pt x="441" y="1915"/>
                  <a:pt x="441" y="1915"/>
                </a:cubicBezTo>
                <a:cubicBezTo>
                  <a:pt x="594" y="1915"/>
                  <a:pt x="775" y="1890"/>
                  <a:pt x="986" y="1839"/>
                </a:cubicBezTo>
                <a:cubicBezTo>
                  <a:pt x="1197" y="1787"/>
                  <a:pt x="1405" y="1702"/>
                  <a:pt x="1612" y="1581"/>
                </a:cubicBezTo>
                <a:cubicBezTo>
                  <a:pt x="1819" y="1461"/>
                  <a:pt x="2006" y="1303"/>
                  <a:pt x="2173" y="1105"/>
                </a:cubicBezTo>
                <a:cubicBezTo>
                  <a:pt x="2339" y="908"/>
                  <a:pt x="2464" y="664"/>
                  <a:pt x="2543" y="372"/>
                </a:cubicBezTo>
                <a:cubicBezTo>
                  <a:pt x="2574" y="257"/>
                  <a:pt x="2598" y="133"/>
                  <a:pt x="261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869" y="419099"/>
            <a:ext cx="7200000" cy="1269915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7869" y="1714694"/>
            <a:ext cx="7200000" cy="1080758"/>
          </a:xfr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3400" b="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48041" y="3100340"/>
            <a:ext cx="3798094" cy="122872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>
              <a:buNone/>
              <a:defRPr sz="1425" b="1"/>
            </a:lvl2pPr>
            <a:lvl3pPr marL="685800" indent="0">
              <a:buNone/>
              <a:defRPr sz="1425" b="1"/>
            </a:lvl3pPr>
            <a:lvl4pPr marL="1028700" indent="0">
              <a:buNone/>
              <a:defRPr sz="1425" b="1"/>
            </a:lvl4pPr>
            <a:lvl5pPr marL="1371600" indent="0">
              <a:buNone/>
              <a:defRPr sz="1425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4216" y="6010276"/>
            <a:ext cx="565236" cy="56523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5513" y="6078483"/>
            <a:ext cx="1515362" cy="45901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18" t="13101" r="12318" b="13101"/>
          <a:stretch/>
        </p:blipFill>
        <p:spPr>
          <a:xfrm>
            <a:off x="7866309" y="5707464"/>
            <a:ext cx="987375" cy="845736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6675" y="6211985"/>
            <a:ext cx="1009651" cy="36114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314" y="6379314"/>
            <a:ext cx="1677600" cy="11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1307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6983" y="2473779"/>
            <a:ext cx="5129892" cy="4240893"/>
          </a:xfrm>
        </p:spPr>
        <p:txBody>
          <a:bodyPr anchor="b" anchorCtr="0"/>
          <a:lstStyle>
            <a:lvl1pPr>
              <a:lnSpc>
                <a:spcPct val="70000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hank you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7087668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oing Fo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09" y="4657307"/>
            <a:ext cx="3246976" cy="17911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719332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18ABEE-1919-468C-9A92-C2CD7AB9F8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976606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0"/>
            <a:ext cx="698173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3698" y="436569"/>
            <a:ext cx="3798266" cy="2482851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33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3698" y="3257552"/>
            <a:ext cx="3798266" cy="385763"/>
          </a:xfrm>
        </p:spPr>
        <p:txBody>
          <a:bodyPr>
            <a:noAutofit/>
          </a:bodyPr>
          <a:lstStyle>
            <a:lvl1pPr marL="0" indent="0" algn="l">
              <a:buNone/>
              <a:defRPr sz="1425" b="1" baseline="0">
                <a:solidFill>
                  <a:schemeClr val="accent1"/>
                </a:solidFill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6998" y="5274899"/>
            <a:ext cx="1439466" cy="1257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4937" y="635504"/>
            <a:ext cx="1075457" cy="272449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73871" y="3657606"/>
            <a:ext cx="3798094" cy="122872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25" b="1" baseline="0">
                <a:solidFill>
                  <a:schemeClr val="bg1"/>
                </a:solidFill>
              </a:defRPr>
            </a:lvl1pPr>
            <a:lvl2pPr marL="342891" indent="0">
              <a:buNone/>
              <a:defRPr sz="1425" b="1"/>
            </a:lvl2pPr>
            <a:lvl3pPr marL="685783" indent="0">
              <a:buNone/>
              <a:defRPr sz="1425" b="1"/>
            </a:lvl3pPr>
            <a:lvl4pPr marL="1028674" indent="0">
              <a:buNone/>
              <a:defRPr sz="1425" b="1"/>
            </a:lvl4pPr>
            <a:lvl5pPr marL="1371566" indent="0">
              <a:buNone/>
              <a:defRPr sz="1425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697" y="6232845"/>
            <a:ext cx="1258200" cy="11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8441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/>
          </p:cNvSpPr>
          <p:nvPr userDrawn="1"/>
        </p:nvSpPr>
        <p:spPr bwMode="auto">
          <a:xfrm>
            <a:off x="-1191" y="0"/>
            <a:ext cx="6984206" cy="6858000"/>
          </a:xfrm>
          <a:custGeom>
            <a:avLst/>
            <a:gdLst>
              <a:gd name="T0" fmla="*/ 0 w 5867"/>
              <a:gd name="T1" fmla="*/ 0 h 4320"/>
              <a:gd name="T2" fmla="*/ 0 w 5867"/>
              <a:gd name="T3" fmla="*/ 4320 h 4320"/>
              <a:gd name="T4" fmla="*/ 3187 w 5867"/>
              <a:gd name="T5" fmla="*/ 4320 h 4320"/>
              <a:gd name="T6" fmla="*/ 4630 w 5867"/>
              <a:gd name="T7" fmla="*/ 3063 h 4320"/>
              <a:gd name="T8" fmla="*/ 5669 w 5867"/>
              <a:gd name="T9" fmla="*/ 1003 h 4320"/>
              <a:gd name="T10" fmla="*/ 5867 w 5867"/>
              <a:gd name="T11" fmla="*/ 0 h 4320"/>
              <a:gd name="T12" fmla="*/ 0 w 5867"/>
              <a:gd name="T13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67" h="4320">
                <a:moveTo>
                  <a:pt x="0" y="0"/>
                </a:moveTo>
                <a:cubicBezTo>
                  <a:pt x="0" y="4320"/>
                  <a:pt x="0" y="4320"/>
                  <a:pt x="0" y="4320"/>
                </a:cubicBezTo>
                <a:cubicBezTo>
                  <a:pt x="3187" y="4320"/>
                  <a:pt x="3187" y="4320"/>
                  <a:pt x="3187" y="4320"/>
                </a:cubicBezTo>
                <a:cubicBezTo>
                  <a:pt x="3717" y="3993"/>
                  <a:pt x="4197" y="3574"/>
                  <a:pt x="4630" y="3063"/>
                </a:cubicBezTo>
                <a:cubicBezTo>
                  <a:pt x="5097" y="2509"/>
                  <a:pt x="5447" y="1824"/>
                  <a:pt x="5669" y="1003"/>
                </a:cubicBezTo>
                <a:cubicBezTo>
                  <a:pt x="5752" y="692"/>
                  <a:pt x="5818" y="357"/>
                  <a:pt x="586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13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3697" y="436563"/>
            <a:ext cx="4812678" cy="1957846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3697" y="2349506"/>
            <a:ext cx="4812678" cy="1847851"/>
          </a:xfr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3300" b="0" baseline="0">
                <a:solidFill>
                  <a:schemeClr val="bg1"/>
                </a:solidFill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73871" y="4458884"/>
            <a:ext cx="3798094" cy="122872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25" b="1" baseline="0">
                <a:solidFill>
                  <a:schemeClr val="accent2"/>
                </a:solidFill>
              </a:defRPr>
            </a:lvl1pPr>
            <a:lvl2pPr marL="342891" indent="0">
              <a:buNone/>
              <a:defRPr sz="1425" b="1"/>
            </a:lvl2pPr>
            <a:lvl3pPr marL="685783" indent="0">
              <a:buNone/>
              <a:defRPr sz="1425" b="1"/>
            </a:lvl3pPr>
            <a:lvl4pPr marL="1028674" indent="0">
              <a:buNone/>
              <a:defRPr sz="1425" b="1"/>
            </a:lvl4pPr>
            <a:lvl5pPr marL="1371566" indent="0">
              <a:buNone/>
              <a:defRPr sz="1425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7672" y="5729024"/>
            <a:ext cx="475257" cy="63367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5759" y="5816813"/>
            <a:ext cx="1256643" cy="50752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92070" y="5405977"/>
            <a:ext cx="825104" cy="94232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5236" y="5960226"/>
            <a:ext cx="843896" cy="40247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697" y="6232845"/>
            <a:ext cx="1258200" cy="11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6221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/>
          </p:cNvSpPr>
          <p:nvPr userDrawn="1"/>
        </p:nvSpPr>
        <p:spPr bwMode="auto">
          <a:xfrm>
            <a:off x="-1191" y="0"/>
            <a:ext cx="6984206" cy="6858000"/>
          </a:xfrm>
          <a:custGeom>
            <a:avLst/>
            <a:gdLst>
              <a:gd name="T0" fmla="*/ 0 w 5867"/>
              <a:gd name="T1" fmla="*/ 0 h 4320"/>
              <a:gd name="T2" fmla="*/ 0 w 5867"/>
              <a:gd name="T3" fmla="*/ 4320 h 4320"/>
              <a:gd name="T4" fmla="*/ 3187 w 5867"/>
              <a:gd name="T5" fmla="*/ 4320 h 4320"/>
              <a:gd name="T6" fmla="*/ 4630 w 5867"/>
              <a:gd name="T7" fmla="*/ 3063 h 4320"/>
              <a:gd name="T8" fmla="*/ 5669 w 5867"/>
              <a:gd name="T9" fmla="*/ 1003 h 4320"/>
              <a:gd name="T10" fmla="*/ 5867 w 5867"/>
              <a:gd name="T11" fmla="*/ 0 h 4320"/>
              <a:gd name="T12" fmla="*/ 0 w 5867"/>
              <a:gd name="T13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67" h="4320">
                <a:moveTo>
                  <a:pt x="0" y="0"/>
                </a:moveTo>
                <a:cubicBezTo>
                  <a:pt x="0" y="4320"/>
                  <a:pt x="0" y="4320"/>
                  <a:pt x="0" y="4320"/>
                </a:cubicBezTo>
                <a:cubicBezTo>
                  <a:pt x="3187" y="4320"/>
                  <a:pt x="3187" y="4320"/>
                  <a:pt x="3187" y="4320"/>
                </a:cubicBezTo>
                <a:cubicBezTo>
                  <a:pt x="3717" y="3993"/>
                  <a:pt x="4197" y="3574"/>
                  <a:pt x="4630" y="3063"/>
                </a:cubicBezTo>
                <a:cubicBezTo>
                  <a:pt x="5097" y="2509"/>
                  <a:pt x="5447" y="1824"/>
                  <a:pt x="5669" y="1003"/>
                </a:cubicBezTo>
                <a:cubicBezTo>
                  <a:pt x="5752" y="692"/>
                  <a:pt x="5818" y="357"/>
                  <a:pt x="586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13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3697" y="436563"/>
            <a:ext cx="4812678" cy="1957846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3697" y="2349506"/>
            <a:ext cx="4812678" cy="1847851"/>
          </a:xfr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3300" b="0" baseline="0">
                <a:solidFill>
                  <a:schemeClr val="bg1"/>
                </a:solidFill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73871" y="4458884"/>
            <a:ext cx="3798094" cy="122872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25" b="1" baseline="0">
                <a:solidFill>
                  <a:schemeClr val="accent2"/>
                </a:solidFill>
              </a:defRPr>
            </a:lvl1pPr>
            <a:lvl2pPr marL="342891" indent="0">
              <a:buNone/>
              <a:defRPr sz="1425" b="1"/>
            </a:lvl2pPr>
            <a:lvl3pPr marL="685783" indent="0">
              <a:buNone/>
              <a:defRPr sz="1425" b="1"/>
            </a:lvl3pPr>
            <a:lvl4pPr marL="1028674" indent="0">
              <a:buNone/>
              <a:defRPr sz="1425" b="1"/>
            </a:lvl4pPr>
            <a:lvl5pPr marL="1371566" indent="0">
              <a:buNone/>
              <a:defRPr sz="1425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9262" y="2453384"/>
            <a:ext cx="530621" cy="70749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1808" y="5809676"/>
            <a:ext cx="1263787" cy="51040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92070" y="5405977"/>
            <a:ext cx="825104" cy="94232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2624" y="4574344"/>
            <a:ext cx="885826" cy="42247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5692" y="4424510"/>
            <a:ext cx="429758" cy="63089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7647" y="3652548"/>
            <a:ext cx="1114427" cy="30312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70693" y="3553276"/>
            <a:ext cx="464759" cy="45013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697" y="6232845"/>
            <a:ext cx="1258200" cy="11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1935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5"/>
          <p:cNvSpPr>
            <a:spLocks/>
          </p:cNvSpPr>
          <p:nvPr userDrawn="1"/>
        </p:nvSpPr>
        <p:spPr bwMode="auto">
          <a:xfrm>
            <a:off x="1" y="0"/>
            <a:ext cx="5272088" cy="6858000"/>
          </a:xfrm>
          <a:custGeom>
            <a:avLst/>
            <a:gdLst>
              <a:gd name="T0" fmla="*/ 0 w 4428"/>
              <a:gd name="T1" fmla="*/ 4320 h 4320"/>
              <a:gd name="T2" fmla="*/ 4150 w 4428"/>
              <a:gd name="T3" fmla="*/ 4320 h 4320"/>
              <a:gd name="T4" fmla="*/ 4428 w 4428"/>
              <a:gd name="T5" fmla="*/ 2715 h 4320"/>
              <a:gd name="T6" fmla="*/ 3271 w 4428"/>
              <a:gd name="T7" fmla="*/ 0 h 4320"/>
              <a:gd name="T8" fmla="*/ 0 w 4428"/>
              <a:gd name="T9" fmla="*/ 0 h 4320"/>
              <a:gd name="T10" fmla="*/ 0 w 4428"/>
              <a:gd name="T11" fmla="*/ 432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428" h="4320">
                <a:moveTo>
                  <a:pt x="0" y="4320"/>
                </a:moveTo>
                <a:cubicBezTo>
                  <a:pt x="4150" y="4320"/>
                  <a:pt x="4150" y="4320"/>
                  <a:pt x="4150" y="4320"/>
                </a:cubicBezTo>
                <a:cubicBezTo>
                  <a:pt x="4333" y="3814"/>
                  <a:pt x="4428" y="3278"/>
                  <a:pt x="4428" y="2715"/>
                </a:cubicBezTo>
                <a:cubicBezTo>
                  <a:pt x="4428" y="1447"/>
                  <a:pt x="3970" y="524"/>
                  <a:pt x="3271" y="0"/>
                </a:cubicBezTo>
                <a:cubicBezTo>
                  <a:pt x="0" y="0"/>
                  <a:pt x="0" y="0"/>
                  <a:pt x="0" y="0"/>
                </a:cubicBezTo>
                <a:lnTo>
                  <a:pt x="0" y="43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13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3697" y="1972854"/>
            <a:ext cx="4081158" cy="1401632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255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3697" y="3281958"/>
            <a:ext cx="4081158" cy="1454177"/>
          </a:xfr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2551" b="0" baseline="0">
                <a:solidFill>
                  <a:schemeClr val="accent1"/>
                </a:solidFill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73872" y="5032383"/>
            <a:ext cx="2852261" cy="9016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125" b="1" baseline="0">
                <a:solidFill>
                  <a:schemeClr val="tx2"/>
                </a:solidFill>
              </a:defRPr>
            </a:lvl1pPr>
            <a:lvl2pPr marL="342891" indent="0">
              <a:buNone/>
              <a:defRPr sz="1425" b="1"/>
            </a:lvl2pPr>
            <a:lvl3pPr marL="685783" indent="0">
              <a:buNone/>
              <a:defRPr sz="1425" b="1"/>
            </a:lvl3pPr>
            <a:lvl4pPr marL="1028674" indent="0">
              <a:buNone/>
              <a:defRPr sz="1425" b="1"/>
            </a:lvl4pPr>
            <a:lvl5pPr marL="1371566" indent="0">
              <a:buNone/>
              <a:defRPr sz="1425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4884" y="433156"/>
            <a:ext cx="1153893" cy="131179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4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8107" y="5993607"/>
            <a:ext cx="703730" cy="618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697" y="6232845"/>
            <a:ext cx="1258200" cy="11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9076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BF4B23D-7E40-412B-AB98-C22F93FC92CD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31397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00" y="1905004"/>
            <a:ext cx="6836789" cy="4271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AF9238-355C-42DA-BA4B-1A690CE027A2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9285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ivid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7"/>
            <a:ext cx="4086225" cy="453866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7" y="358147"/>
            <a:ext cx="2955303" cy="1765935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33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5127" y="2151070"/>
            <a:ext cx="2955303" cy="1500187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BEB5DD8-B491-48B5-AD9A-6DC1E27A17E2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8107" y="5993607"/>
            <a:ext cx="703730" cy="618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6130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/>
          <p:cNvSpPr>
            <a:spLocks/>
          </p:cNvSpPr>
          <p:nvPr userDrawn="1"/>
        </p:nvSpPr>
        <p:spPr bwMode="auto">
          <a:xfrm>
            <a:off x="0" y="0"/>
            <a:ext cx="8307977" cy="6093959"/>
          </a:xfrm>
          <a:custGeom>
            <a:avLst/>
            <a:gdLst>
              <a:gd name="T0" fmla="*/ 0 w 2616"/>
              <a:gd name="T1" fmla="*/ 0 h 1918"/>
              <a:gd name="T2" fmla="*/ 0 w 2616"/>
              <a:gd name="T3" fmla="*/ 1893 h 1918"/>
              <a:gd name="T4" fmla="*/ 441 w 2616"/>
              <a:gd name="T5" fmla="*/ 1915 h 1918"/>
              <a:gd name="T6" fmla="*/ 986 w 2616"/>
              <a:gd name="T7" fmla="*/ 1839 h 1918"/>
              <a:gd name="T8" fmla="*/ 1612 w 2616"/>
              <a:gd name="T9" fmla="*/ 1581 h 1918"/>
              <a:gd name="T10" fmla="*/ 2173 w 2616"/>
              <a:gd name="T11" fmla="*/ 1105 h 1918"/>
              <a:gd name="T12" fmla="*/ 2543 w 2616"/>
              <a:gd name="T13" fmla="*/ 372 h 1918"/>
              <a:gd name="T14" fmla="*/ 2616 w 2616"/>
              <a:gd name="T15" fmla="*/ 0 h 1918"/>
              <a:gd name="T16" fmla="*/ 0 w 2616"/>
              <a:gd name="T17" fmla="*/ 0 h 1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16" h="1918">
                <a:moveTo>
                  <a:pt x="0" y="0"/>
                </a:moveTo>
                <a:cubicBezTo>
                  <a:pt x="0" y="1893"/>
                  <a:pt x="0" y="1893"/>
                  <a:pt x="0" y="1893"/>
                </a:cubicBezTo>
                <a:cubicBezTo>
                  <a:pt x="240" y="1918"/>
                  <a:pt x="441" y="1915"/>
                  <a:pt x="441" y="1915"/>
                </a:cubicBezTo>
                <a:cubicBezTo>
                  <a:pt x="594" y="1915"/>
                  <a:pt x="775" y="1890"/>
                  <a:pt x="986" y="1839"/>
                </a:cubicBezTo>
                <a:cubicBezTo>
                  <a:pt x="1197" y="1787"/>
                  <a:pt x="1405" y="1702"/>
                  <a:pt x="1612" y="1581"/>
                </a:cubicBezTo>
                <a:cubicBezTo>
                  <a:pt x="1819" y="1461"/>
                  <a:pt x="2006" y="1303"/>
                  <a:pt x="2173" y="1105"/>
                </a:cubicBezTo>
                <a:cubicBezTo>
                  <a:pt x="2339" y="908"/>
                  <a:pt x="2464" y="664"/>
                  <a:pt x="2543" y="372"/>
                </a:cubicBezTo>
                <a:cubicBezTo>
                  <a:pt x="2574" y="257"/>
                  <a:pt x="2598" y="133"/>
                  <a:pt x="261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54670" y="390524"/>
            <a:ext cx="7200000" cy="1270459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4670" y="1711325"/>
            <a:ext cx="7200000" cy="1165225"/>
          </a:xfr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3400" b="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54844" y="3087278"/>
            <a:ext cx="3798094" cy="122872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>
              <a:buNone/>
              <a:defRPr sz="1425" b="1"/>
            </a:lvl2pPr>
            <a:lvl3pPr marL="685800" indent="0">
              <a:buNone/>
              <a:defRPr sz="1425" b="1"/>
            </a:lvl3pPr>
            <a:lvl4pPr marL="1028700" indent="0">
              <a:buNone/>
              <a:defRPr sz="1425" b="1"/>
            </a:lvl4pPr>
            <a:lvl5pPr marL="1371600" indent="0">
              <a:buNone/>
              <a:defRPr sz="1425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469" y="4350573"/>
            <a:ext cx="632025" cy="63202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316" y="6083300"/>
            <a:ext cx="1514640" cy="45879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18" t="13101" r="12318" b="13101"/>
          <a:stretch/>
        </p:blipFill>
        <p:spPr>
          <a:xfrm>
            <a:off x="7863483" y="5717382"/>
            <a:ext cx="992047" cy="849738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024" y="5312793"/>
            <a:ext cx="1071563" cy="383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9801" y="4843463"/>
            <a:ext cx="510491" cy="5620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7974" y="6214452"/>
            <a:ext cx="1332000" cy="27172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4" r="7089"/>
          <a:stretch/>
        </p:blipFill>
        <p:spPr>
          <a:xfrm>
            <a:off x="8281988" y="4145971"/>
            <a:ext cx="548782" cy="39863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314" y="6379314"/>
            <a:ext cx="1677600" cy="11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277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Divid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"/>
            <a:ext cx="9525000" cy="685799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055597" y="-19594"/>
            <a:ext cx="4469402" cy="496426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90102" y="358147"/>
            <a:ext cx="2955303" cy="1765935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33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90102" y="2151070"/>
            <a:ext cx="2955303" cy="1500187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8107" y="5993607"/>
            <a:ext cx="703730" cy="618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424699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3E0AC-0FEA-41A7-9CF7-27BDEA164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74D999-3CEA-439B-B9AD-FFB16E021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445C68-E6A5-4EE6-BE13-3540B87424E3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89E658-3185-4A97-8434-953728ECD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0BE0B1-A00C-480C-A86B-06B422669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7173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5"/>
          <p:cNvSpPr>
            <a:spLocks/>
          </p:cNvSpPr>
          <p:nvPr userDrawn="1"/>
        </p:nvSpPr>
        <p:spPr bwMode="auto">
          <a:xfrm flipV="1">
            <a:off x="2" y="1693863"/>
            <a:ext cx="4649391" cy="5162550"/>
          </a:xfrm>
          <a:custGeom>
            <a:avLst/>
            <a:gdLst>
              <a:gd name="T0" fmla="*/ 2730 w 3430"/>
              <a:gd name="T1" fmla="*/ 2244 h 2856"/>
              <a:gd name="T2" fmla="*/ 3430 w 3430"/>
              <a:gd name="T3" fmla="*/ 578 h 2856"/>
              <a:gd name="T4" fmla="*/ 3370 w 3430"/>
              <a:gd name="T5" fmla="*/ 0 h 2856"/>
              <a:gd name="T6" fmla="*/ 0 w 3430"/>
              <a:gd name="T7" fmla="*/ 0 h 2856"/>
              <a:gd name="T8" fmla="*/ 0 w 3430"/>
              <a:gd name="T9" fmla="*/ 2664 h 2856"/>
              <a:gd name="T10" fmla="*/ 1029 w 3430"/>
              <a:gd name="T11" fmla="*/ 2856 h 2856"/>
              <a:gd name="T12" fmla="*/ 2730 w 3430"/>
              <a:gd name="T13" fmla="*/ 2244 h 2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30" h="2856">
                <a:moveTo>
                  <a:pt x="2730" y="2244"/>
                </a:moveTo>
                <a:cubicBezTo>
                  <a:pt x="3196" y="1836"/>
                  <a:pt x="3430" y="1281"/>
                  <a:pt x="3430" y="578"/>
                </a:cubicBezTo>
                <a:cubicBezTo>
                  <a:pt x="3430" y="373"/>
                  <a:pt x="3410" y="181"/>
                  <a:pt x="337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664"/>
                  <a:pt x="0" y="2664"/>
                  <a:pt x="0" y="2664"/>
                </a:cubicBezTo>
                <a:cubicBezTo>
                  <a:pt x="311" y="2792"/>
                  <a:pt x="654" y="2856"/>
                  <a:pt x="1029" y="2856"/>
                </a:cubicBezTo>
                <a:cubicBezTo>
                  <a:pt x="1699" y="2856"/>
                  <a:pt x="2266" y="2652"/>
                  <a:pt x="2730" y="224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13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699" y="3285784"/>
            <a:ext cx="2955303" cy="1765935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33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3F3C15-D8B8-4B89-B87C-D602ED359535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67D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00667D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49393" y="6299796"/>
            <a:ext cx="335160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67D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00667D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8107" y="5993607"/>
            <a:ext cx="703730" cy="618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458" y="667297"/>
            <a:ext cx="3771900" cy="15874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975393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E457446-10E8-433C-8CFA-FEFA69163A3A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8107" y="5993607"/>
            <a:ext cx="703730" cy="6182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" name="Group 4"/>
          <p:cNvGrpSpPr>
            <a:grpSpLocks noChangeAspect="1"/>
          </p:cNvGrpSpPr>
          <p:nvPr userDrawn="1"/>
        </p:nvGrpSpPr>
        <p:grpSpPr bwMode="auto">
          <a:xfrm>
            <a:off x="7437752" y="301661"/>
            <a:ext cx="1455509" cy="3432065"/>
            <a:chOff x="3114" y="882"/>
            <a:chExt cx="1447" cy="2559"/>
          </a:xfrm>
          <a:solidFill>
            <a:schemeClr val="accent2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auto">
            <a:xfrm>
              <a:off x="3425" y="882"/>
              <a:ext cx="526" cy="500"/>
            </a:xfrm>
            <a:custGeom>
              <a:avLst/>
              <a:gdLst>
                <a:gd name="T0" fmla="*/ 32 w 222"/>
                <a:gd name="T1" fmla="*/ 183 h 211"/>
                <a:gd name="T2" fmla="*/ 111 w 222"/>
                <a:gd name="T3" fmla="*/ 211 h 211"/>
                <a:gd name="T4" fmla="*/ 190 w 222"/>
                <a:gd name="T5" fmla="*/ 183 h 211"/>
                <a:gd name="T6" fmla="*/ 222 w 222"/>
                <a:gd name="T7" fmla="*/ 106 h 211"/>
                <a:gd name="T8" fmla="*/ 190 w 222"/>
                <a:gd name="T9" fmla="*/ 29 h 211"/>
                <a:gd name="T10" fmla="*/ 111 w 222"/>
                <a:gd name="T11" fmla="*/ 0 h 211"/>
                <a:gd name="T12" fmla="*/ 32 w 222"/>
                <a:gd name="T13" fmla="*/ 29 h 211"/>
                <a:gd name="T14" fmla="*/ 0 w 222"/>
                <a:gd name="T15" fmla="*/ 106 h 211"/>
                <a:gd name="T16" fmla="*/ 32 w 222"/>
                <a:gd name="T17" fmla="*/ 183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2" h="211">
                  <a:moveTo>
                    <a:pt x="32" y="183"/>
                  </a:moveTo>
                  <a:cubicBezTo>
                    <a:pt x="54" y="202"/>
                    <a:pt x="80" y="211"/>
                    <a:pt x="111" y="211"/>
                  </a:cubicBezTo>
                  <a:cubicBezTo>
                    <a:pt x="142" y="211"/>
                    <a:pt x="168" y="202"/>
                    <a:pt x="190" y="183"/>
                  </a:cubicBezTo>
                  <a:cubicBezTo>
                    <a:pt x="211" y="164"/>
                    <a:pt x="222" y="139"/>
                    <a:pt x="222" y="106"/>
                  </a:cubicBezTo>
                  <a:cubicBezTo>
                    <a:pt x="222" y="74"/>
                    <a:pt x="211" y="48"/>
                    <a:pt x="190" y="29"/>
                  </a:cubicBezTo>
                  <a:cubicBezTo>
                    <a:pt x="168" y="10"/>
                    <a:pt x="142" y="0"/>
                    <a:pt x="111" y="0"/>
                  </a:cubicBezTo>
                  <a:cubicBezTo>
                    <a:pt x="80" y="0"/>
                    <a:pt x="54" y="10"/>
                    <a:pt x="32" y="29"/>
                  </a:cubicBezTo>
                  <a:cubicBezTo>
                    <a:pt x="11" y="48"/>
                    <a:pt x="0" y="74"/>
                    <a:pt x="0" y="106"/>
                  </a:cubicBezTo>
                  <a:cubicBezTo>
                    <a:pt x="0" y="139"/>
                    <a:pt x="11" y="164"/>
                    <a:pt x="32" y="1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4101" y="1524"/>
              <a:ext cx="460" cy="438"/>
            </a:xfrm>
            <a:custGeom>
              <a:avLst/>
              <a:gdLst>
                <a:gd name="T0" fmla="*/ 166 w 194"/>
                <a:gd name="T1" fmla="*/ 26 h 185"/>
                <a:gd name="T2" fmla="*/ 97 w 194"/>
                <a:gd name="T3" fmla="*/ 0 h 185"/>
                <a:gd name="T4" fmla="*/ 29 w 194"/>
                <a:gd name="T5" fmla="*/ 26 h 185"/>
                <a:gd name="T6" fmla="*/ 0 w 194"/>
                <a:gd name="T7" fmla="*/ 93 h 185"/>
                <a:gd name="T8" fmla="*/ 29 w 194"/>
                <a:gd name="T9" fmla="*/ 161 h 185"/>
                <a:gd name="T10" fmla="*/ 97 w 194"/>
                <a:gd name="T11" fmla="*/ 185 h 185"/>
                <a:gd name="T12" fmla="*/ 166 w 194"/>
                <a:gd name="T13" fmla="*/ 161 h 185"/>
                <a:gd name="T14" fmla="*/ 194 w 194"/>
                <a:gd name="T15" fmla="*/ 93 h 185"/>
                <a:gd name="T16" fmla="*/ 166 w 194"/>
                <a:gd name="T17" fmla="*/ 2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185">
                  <a:moveTo>
                    <a:pt x="166" y="26"/>
                  </a:moveTo>
                  <a:cubicBezTo>
                    <a:pt x="147" y="9"/>
                    <a:pt x="124" y="0"/>
                    <a:pt x="97" y="0"/>
                  </a:cubicBezTo>
                  <a:cubicBezTo>
                    <a:pt x="70" y="0"/>
                    <a:pt x="47" y="9"/>
                    <a:pt x="29" y="26"/>
                  </a:cubicBezTo>
                  <a:cubicBezTo>
                    <a:pt x="10" y="42"/>
                    <a:pt x="0" y="65"/>
                    <a:pt x="0" y="93"/>
                  </a:cubicBezTo>
                  <a:cubicBezTo>
                    <a:pt x="0" y="122"/>
                    <a:pt x="10" y="144"/>
                    <a:pt x="29" y="161"/>
                  </a:cubicBezTo>
                  <a:cubicBezTo>
                    <a:pt x="47" y="177"/>
                    <a:pt x="70" y="185"/>
                    <a:pt x="97" y="185"/>
                  </a:cubicBezTo>
                  <a:cubicBezTo>
                    <a:pt x="124" y="185"/>
                    <a:pt x="147" y="177"/>
                    <a:pt x="166" y="161"/>
                  </a:cubicBezTo>
                  <a:cubicBezTo>
                    <a:pt x="185" y="144"/>
                    <a:pt x="194" y="122"/>
                    <a:pt x="194" y="93"/>
                  </a:cubicBezTo>
                  <a:cubicBezTo>
                    <a:pt x="194" y="65"/>
                    <a:pt x="185" y="42"/>
                    <a:pt x="166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4096" y="2033"/>
              <a:ext cx="456" cy="735"/>
            </a:xfrm>
            <a:custGeom>
              <a:avLst/>
              <a:gdLst>
                <a:gd name="T0" fmla="*/ 33 w 192"/>
                <a:gd name="T1" fmla="*/ 308 h 310"/>
                <a:gd name="T2" fmla="*/ 192 w 192"/>
                <a:gd name="T3" fmla="*/ 114 h 310"/>
                <a:gd name="T4" fmla="*/ 96 w 192"/>
                <a:gd name="T5" fmla="*/ 0 h 310"/>
                <a:gd name="T6" fmla="*/ 0 w 192"/>
                <a:gd name="T7" fmla="*/ 90 h 310"/>
                <a:gd name="T8" fmla="*/ 44 w 192"/>
                <a:gd name="T9" fmla="*/ 169 h 310"/>
                <a:gd name="T10" fmla="*/ 18 w 192"/>
                <a:gd name="T11" fmla="*/ 250 h 310"/>
                <a:gd name="T12" fmla="*/ 24 w 192"/>
                <a:gd name="T13" fmla="*/ 302 h 310"/>
                <a:gd name="T14" fmla="*/ 33 w 192"/>
                <a:gd name="T15" fmla="*/ 308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310">
                  <a:moveTo>
                    <a:pt x="33" y="308"/>
                  </a:moveTo>
                  <a:cubicBezTo>
                    <a:pt x="133" y="264"/>
                    <a:pt x="192" y="198"/>
                    <a:pt x="192" y="114"/>
                  </a:cubicBezTo>
                  <a:cubicBezTo>
                    <a:pt x="192" y="41"/>
                    <a:pt x="149" y="0"/>
                    <a:pt x="96" y="0"/>
                  </a:cubicBezTo>
                  <a:cubicBezTo>
                    <a:pt x="43" y="0"/>
                    <a:pt x="0" y="38"/>
                    <a:pt x="0" y="90"/>
                  </a:cubicBezTo>
                  <a:cubicBezTo>
                    <a:pt x="0" y="122"/>
                    <a:pt x="14" y="153"/>
                    <a:pt x="44" y="169"/>
                  </a:cubicBezTo>
                  <a:cubicBezTo>
                    <a:pt x="26" y="194"/>
                    <a:pt x="18" y="221"/>
                    <a:pt x="18" y="250"/>
                  </a:cubicBezTo>
                  <a:cubicBezTo>
                    <a:pt x="18" y="266"/>
                    <a:pt x="20" y="283"/>
                    <a:pt x="24" y="302"/>
                  </a:cubicBezTo>
                  <a:cubicBezTo>
                    <a:pt x="24" y="302"/>
                    <a:pt x="26" y="310"/>
                    <a:pt x="33" y="30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3114" y="1484"/>
              <a:ext cx="875" cy="1957"/>
            </a:xfrm>
            <a:custGeom>
              <a:avLst/>
              <a:gdLst>
                <a:gd name="T0" fmla="*/ 294 w 369"/>
                <a:gd name="T1" fmla="*/ 28 h 826"/>
                <a:gd name="T2" fmla="*/ 146 w 369"/>
                <a:gd name="T3" fmla="*/ 26 h 826"/>
                <a:gd name="T4" fmla="*/ 137 w 369"/>
                <a:gd name="T5" fmla="*/ 40 h 826"/>
                <a:gd name="T6" fmla="*/ 137 w 369"/>
                <a:gd name="T7" fmla="*/ 40 h 826"/>
                <a:gd name="T8" fmla="*/ 137 w 369"/>
                <a:gd name="T9" fmla="*/ 246 h 826"/>
                <a:gd name="T10" fmla="*/ 137 w 369"/>
                <a:gd name="T11" fmla="*/ 247 h 826"/>
                <a:gd name="T12" fmla="*/ 137 w 369"/>
                <a:gd name="T13" fmla="*/ 552 h 826"/>
                <a:gd name="T14" fmla="*/ 132 w 369"/>
                <a:gd name="T15" fmla="*/ 598 h 826"/>
                <a:gd name="T16" fmla="*/ 115 w 369"/>
                <a:gd name="T17" fmla="*/ 635 h 826"/>
                <a:gd name="T18" fmla="*/ 80 w 369"/>
                <a:gd name="T19" fmla="*/ 661 h 826"/>
                <a:gd name="T20" fmla="*/ 15 w 369"/>
                <a:gd name="T21" fmla="*/ 675 h 826"/>
                <a:gd name="T22" fmla="*/ 4 w 369"/>
                <a:gd name="T23" fmla="*/ 686 h 826"/>
                <a:gd name="T24" fmla="*/ 4 w 369"/>
                <a:gd name="T25" fmla="*/ 781 h 826"/>
                <a:gd name="T26" fmla="*/ 132 w 369"/>
                <a:gd name="T27" fmla="*/ 824 h 826"/>
                <a:gd name="T28" fmla="*/ 189 w 369"/>
                <a:gd name="T29" fmla="*/ 816 h 826"/>
                <a:gd name="T30" fmla="*/ 253 w 369"/>
                <a:gd name="T31" fmla="*/ 789 h 826"/>
                <a:gd name="T32" fmla="*/ 311 w 369"/>
                <a:gd name="T33" fmla="*/ 740 h 826"/>
                <a:gd name="T34" fmla="*/ 350 w 369"/>
                <a:gd name="T35" fmla="*/ 664 h 826"/>
                <a:gd name="T36" fmla="*/ 360 w 369"/>
                <a:gd name="T37" fmla="*/ 598 h 826"/>
                <a:gd name="T38" fmla="*/ 362 w 369"/>
                <a:gd name="T39" fmla="*/ 536 h 826"/>
                <a:gd name="T40" fmla="*/ 362 w 369"/>
                <a:gd name="T41" fmla="*/ 141 h 826"/>
                <a:gd name="T42" fmla="*/ 294 w 369"/>
                <a:gd name="T43" fmla="*/ 28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9" h="826">
                  <a:moveTo>
                    <a:pt x="294" y="28"/>
                  </a:moveTo>
                  <a:cubicBezTo>
                    <a:pt x="203" y="0"/>
                    <a:pt x="146" y="26"/>
                    <a:pt x="146" y="26"/>
                  </a:cubicBezTo>
                  <a:cubicBezTo>
                    <a:pt x="141" y="29"/>
                    <a:pt x="137" y="34"/>
                    <a:pt x="137" y="40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7"/>
                    <a:pt x="137" y="247"/>
                  </a:cubicBezTo>
                  <a:cubicBezTo>
                    <a:pt x="137" y="552"/>
                    <a:pt x="137" y="552"/>
                    <a:pt x="137" y="552"/>
                  </a:cubicBezTo>
                  <a:cubicBezTo>
                    <a:pt x="137" y="569"/>
                    <a:pt x="135" y="584"/>
                    <a:pt x="132" y="598"/>
                  </a:cubicBezTo>
                  <a:cubicBezTo>
                    <a:pt x="129" y="612"/>
                    <a:pt x="124" y="624"/>
                    <a:pt x="115" y="635"/>
                  </a:cubicBezTo>
                  <a:cubicBezTo>
                    <a:pt x="107" y="645"/>
                    <a:pt x="95" y="654"/>
                    <a:pt x="80" y="661"/>
                  </a:cubicBezTo>
                  <a:cubicBezTo>
                    <a:pt x="80" y="661"/>
                    <a:pt x="55" y="672"/>
                    <a:pt x="15" y="675"/>
                  </a:cubicBezTo>
                  <a:cubicBezTo>
                    <a:pt x="15" y="675"/>
                    <a:pt x="5" y="676"/>
                    <a:pt x="4" y="686"/>
                  </a:cubicBezTo>
                  <a:cubicBezTo>
                    <a:pt x="4" y="686"/>
                    <a:pt x="0" y="758"/>
                    <a:pt x="4" y="781"/>
                  </a:cubicBezTo>
                  <a:cubicBezTo>
                    <a:pt x="6" y="826"/>
                    <a:pt x="132" y="824"/>
                    <a:pt x="132" y="824"/>
                  </a:cubicBezTo>
                  <a:cubicBezTo>
                    <a:pt x="148" y="824"/>
                    <a:pt x="167" y="821"/>
                    <a:pt x="189" y="816"/>
                  </a:cubicBezTo>
                  <a:cubicBezTo>
                    <a:pt x="210" y="811"/>
                    <a:pt x="232" y="802"/>
                    <a:pt x="253" y="789"/>
                  </a:cubicBezTo>
                  <a:cubicBezTo>
                    <a:pt x="275" y="777"/>
                    <a:pt x="294" y="760"/>
                    <a:pt x="311" y="740"/>
                  </a:cubicBezTo>
                  <a:cubicBezTo>
                    <a:pt x="329" y="720"/>
                    <a:pt x="341" y="694"/>
                    <a:pt x="350" y="664"/>
                  </a:cubicBezTo>
                  <a:cubicBezTo>
                    <a:pt x="355" y="645"/>
                    <a:pt x="358" y="623"/>
                    <a:pt x="360" y="598"/>
                  </a:cubicBezTo>
                  <a:cubicBezTo>
                    <a:pt x="361" y="574"/>
                    <a:pt x="362" y="553"/>
                    <a:pt x="362" y="536"/>
                  </a:cubicBezTo>
                  <a:cubicBezTo>
                    <a:pt x="362" y="141"/>
                    <a:pt x="362" y="141"/>
                    <a:pt x="362" y="141"/>
                  </a:cubicBezTo>
                  <a:cubicBezTo>
                    <a:pt x="362" y="141"/>
                    <a:pt x="369" y="51"/>
                    <a:pt x="294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697" y="577856"/>
            <a:ext cx="3783978" cy="3155873"/>
          </a:xfrm>
        </p:spPr>
        <p:txBody>
          <a:bodyPr>
            <a:noAutofit/>
          </a:bodyPr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8097503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3697" y="1913645"/>
            <a:ext cx="3591000" cy="4263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9303" y="1913645"/>
            <a:ext cx="3591000" cy="4263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6469C2-375C-4652-A7A9-947293F73CEC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77960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3700" y="2189660"/>
            <a:ext cx="3593227" cy="578717"/>
          </a:xfrm>
        </p:spPr>
        <p:txBody>
          <a:bodyPr bIns="0" anchor="b">
            <a:noAutofit/>
          </a:bodyPr>
          <a:lstStyle>
            <a:lvl1pPr marL="0" indent="0">
              <a:buNone/>
              <a:defRPr sz="1575" b="1">
                <a:solidFill>
                  <a:schemeClr val="accent2"/>
                </a:solidFill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700" y="2717801"/>
            <a:ext cx="3593227" cy="3236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62196" y="2189660"/>
            <a:ext cx="3608109" cy="578717"/>
          </a:xfrm>
        </p:spPr>
        <p:txBody>
          <a:bodyPr bIns="0" anchor="b">
            <a:noAutofit/>
          </a:bodyPr>
          <a:lstStyle>
            <a:lvl1pPr marL="0" indent="0">
              <a:buNone/>
              <a:defRPr sz="1575" b="1">
                <a:solidFill>
                  <a:schemeClr val="accent2"/>
                </a:solidFill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62196" y="2717801"/>
            <a:ext cx="3608109" cy="3236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173B302-8A73-468D-B577-73F91CB10603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7075323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B18FE6-45E6-4273-9A48-C68E42C23FFD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6587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10710E-4690-4FE9-AA8B-417CB551D7F2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6250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697" y="577850"/>
            <a:ext cx="3683524" cy="11128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3697" y="1913642"/>
            <a:ext cx="3683524" cy="40629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9654BB-EC8C-4E2E-9F6C-72064AA7E771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988548" y="577851"/>
            <a:ext cx="3681584" cy="5398744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E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8107" y="5993607"/>
            <a:ext cx="703730" cy="6182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" name="Straight Connector 11"/>
          <p:cNvCxnSpPr/>
          <p:nvPr userDrawn="1"/>
        </p:nvCxnSpPr>
        <p:spPr>
          <a:xfrm>
            <a:off x="473697" y="466725"/>
            <a:ext cx="3683524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45650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9"/>
          <p:cNvSpPr>
            <a:spLocks/>
          </p:cNvSpPr>
          <p:nvPr userDrawn="1"/>
        </p:nvSpPr>
        <p:spPr bwMode="auto">
          <a:xfrm>
            <a:off x="1195" y="0"/>
            <a:ext cx="4612481" cy="6858000"/>
          </a:xfrm>
          <a:custGeom>
            <a:avLst/>
            <a:gdLst>
              <a:gd name="T0" fmla="*/ 0 w 3874"/>
              <a:gd name="T1" fmla="*/ 0 h 4320"/>
              <a:gd name="T2" fmla="*/ 0 w 3874"/>
              <a:gd name="T3" fmla="*/ 4320 h 4320"/>
              <a:gd name="T4" fmla="*/ 3067 w 3874"/>
              <a:gd name="T5" fmla="*/ 4320 h 4320"/>
              <a:gd name="T6" fmla="*/ 3298 w 3874"/>
              <a:gd name="T7" fmla="*/ 4078 h 4320"/>
              <a:gd name="T8" fmla="*/ 3733 w 3874"/>
              <a:gd name="T9" fmla="*/ 3215 h 4320"/>
              <a:gd name="T10" fmla="*/ 3848 w 3874"/>
              <a:gd name="T11" fmla="*/ 2463 h 4320"/>
              <a:gd name="T12" fmla="*/ 3874 w 3874"/>
              <a:gd name="T13" fmla="*/ 1761 h 4320"/>
              <a:gd name="T14" fmla="*/ 3874 w 3874"/>
              <a:gd name="T15" fmla="*/ 0 h 4320"/>
              <a:gd name="T16" fmla="*/ 0 w 3874"/>
              <a:gd name="T17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874" h="4320">
                <a:moveTo>
                  <a:pt x="0" y="0"/>
                </a:moveTo>
                <a:cubicBezTo>
                  <a:pt x="0" y="4320"/>
                  <a:pt x="0" y="4320"/>
                  <a:pt x="0" y="4320"/>
                </a:cubicBezTo>
                <a:cubicBezTo>
                  <a:pt x="3067" y="4320"/>
                  <a:pt x="3067" y="4320"/>
                  <a:pt x="3067" y="4320"/>
                </a:cubicBezTo>
                <a:cubicBezTo>
                  <a:pt x="3147" y="4246"/>
                  <a:pt x="3224" y="4165"/>
                  <a:pt x="3298" y="4078"/>
                </a:cubicBezTo>
                <a:cubicBezTo>
                  <a:pt x="3494" y="3846"/>
                  <a:pt x="3640" y="3559"/>
                  <a:pt x="3733" y="3215"/>
                </a:cubicBezTo>
                <a:cubicBezTo>
                  <a:pt x="3792" y="2992"/>
                  <a:pt x="3832" y="2741"/>
                  <a:pt x="3848" y="2463"/>
                </a:cubicBezTo>
                <a:cubicBezTo>
                  <a:pt x="3866" y="2183"/>
                  <a:pt x="3874" y="1949"/>
                  <a:pt x="3874" y="1761"/>
                </a:cubicBezTo>
                <a:cubicBezTo>
                  <a:pt x="3874" y="1761"/>
                  <a:pt x="3874" y="941"/>
                  <a:pt x="387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13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3651651" y="0"/>
            <a:ext cx="5492353" cy="6858000"/>
          </a:xfrm>
          <a:custGeom>
            <a:avLst/>
            <a:gdLst>
              <a:gd name="connsiteX0" fmla="*/ 1281112 w 7323137"/>
              <a:gd name="connsiteY0" fmla="*/ 0 h 6858000"/>
              <a:gd name="connsiteX1" fmla="*/ 7323137 w 7323137"/>
              <a:gd name="connsiteY1" fmla="*/ 0 h 6858000"/>
              <a:gd name="connsiteX2" fmla="*/ 7323137 w 7323137"/>
              <a:gd name="connsiteY2" fmla="*/ 6858000 h 6858000"/>
              <a:gd name="connsiteX3" fmla="*/ 0 w 7323137"/>
              <a:gd name="connsiteY3" fmla="*/ 6858000 h 6858000"/>
              <a:gd name="connsiteX4" fmla="*/ 366712 w 7323137"/>
              <a:gd name="connsiteY4" fmla="*/ 6473825 h 6858000"/>
              <a:gd name="connsiteX5" fmla="*/ 1057275 w 7323137"/>
              <a:gd name="connsiteY5" fmla="*/ 5103813 h 6858000"/>
              <a:gd name="connsiteX6" fmla="*/ 1239837 w 7323137"/>
              <a:gd name="connsiteY6" fmla="*/ 3910013 h 6858000"/>
              <a:gd name="connsiteX7" fmla="*/ 1281112 w 7323137"/>
              <a:gd name="connsiteY7" fmla="*/ 2795588 h 6858000"/>
              <a:gd name="connsiteX8" fmla="*/ 1281112 w 7323137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23137" h="6858000">
                <a:moveTo>
                  <a:pt x="1281112" y="0"/>
                </a:moveTo>
                <a:lnTo>
                  <a:pt x="7323137" y="0"/>
                </a:lnTo>
                <a:lnTo>
                  <a:pt x="7323137" y="6858000"/>
                </a:lnTo>
                <a:lnTo>
                  <a:pt x="0" y="6858000"/>
                </a:lnTo>
                <a:cubicBezTo>
                  <a:pt x="127000" y="6740525"/>
                  <a:pt x="249237" y="6611938"/>
                  <a:pt x="366712" y="6473825"/>
                </a:cubicBezTo>
                <a:cubicBezTo>
                  <a:pt x="677862" y="6105525"/>
                  <a:pt x="909637" y="5649913"/>
                  <a:pt x="1057275" y="5103813"/>
                </a:cubicBezTo>
                <a:cubicBezTo>
                  <a:pt x="1150938" y="4749800"/>
                  <a:pt x="1214437" y="4351338"/>
                  <a:pt x="1239837" y="3910013"/>
                </a:cubicBezTo>
                <a:cubicBezTo>
                  <a:pt x="1268412" y="3465513"/>
                  <a:pt x="1281112" y="3094038"/>
                  <a:pt x="1281112" y="2795588"/>
                </a:cubicBezTo>
                <a:cubicBezTo>
                  <a:pt x="1281112" y="2795588"/>
                  <a:pt x="1281112" y="1493838"/>
                  <a:pt x="128111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I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525" y="1793240"/>
            <a:ext cx="3752850" cy="3032760"/>
          </a:xfrm>
        </p:spPr>
        <p:txBody>
          <a:bodyPr anchor="t" anchorCtr="0">
            <a:noAutofit/>
          </a:bodyPr>
          <a:lstStyle>
            <a:lvl1pPr marL="170256" indent="-170256">
              <a:lnSpc>
                <a:spcPct val="85000"/>
              </a:lnSpc>
              <a:defRPr sz="255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99BD66A-7D59-4F2B-A235-48FB05F8EF33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67D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00667D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52189" y="6299796"/>
            <a:ext cx="379664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67D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00667D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8107" y="5993607"/>
            <a:ext cx="703730" cy="618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8099" y="1677987"/>
            <a:ext cx="2875326" cy="262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0834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/>
          </p:cNvSpPr>
          <p:nvPr userDrawn="1"/>
        </p:nvSpPr>
        <p:spPr bwMode="auto">
          <a:xfrm>
            <a:off x="0" y="0"/>
            <a:ext cx="5702300" cy="6858000"/>
          </a:xfrm>
          <a:custGeom>
            <a:avLst/>
            <a:gdLst>
              <a:gd name="T0" fmla="*/ 0 w 1795"/>
              <a:gd name="T1" fmla="*/ 2160 h 2160"/>
              <a:gd name="T2" fmla="*/ 1596 w 1795"/>
              <a:gd name="T3" fmla="*/ 2160 h 2160"/>
              <a:gd name="T4" fmla="*/ 1795 w 1795"/>
              <a:gd name="T5" fmla="*/ 1254 h 2160"/>
              <a:gd name="T6" fmla="*/ 1246 w 1795"/>
              <a:gd name="T7" fmla="*/ 0 h 2160"/>
              <a:gd name="T8" fmla="*/ 0 w 1795"/>
              <a:gd name="T9" fmla="*/ 0 h 2160"/>
              <a:gd name="T10" fmla="*/ 0 w 1795"/>
              <a:gd name="T11" fmla="*/ 2160 h 2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95" h="2160">
                <a:moveTo>
                  <a:pt x="0" y="2160"/>
                </a:moveTo>
                <a:cubicBezTo>
                  <a:pt x="1596" y="2160"/>
                  <a:pt x="1596" y="2160"/>
                  <a:pt x="1596" y="2160"/>
                </a:cubicBezTo>
                <a:cubicBezTo>
                  <a:pt x="1727" y="1879"/>
                  <a:pt x="1795" y="1576"/>
                  <a:pt x="1795" y="1254"/>
                </a:cubicBezTo>
                <a:cubicBezTo>
                  <a:pt x="1795" y="662"/>
                  <a:pt x="1577" y="236"/>
                  <a:pt x="1246" y="0"/>
                </a:cubicBezTo>
                <a:cubicBezTo>
                  <a:pt x="0" y="0"/>
                  <a:pt x="0" y="0"/>
                  <a:pt x="0" y="0"/>
                </a:cubicBezTo>
                <a:lnTo>
                  <a:pt x="0" y="21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657" y="1873794"/>
            <a:ext cx="4081158" cy="1401632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657" y="3205752"/>
            <a:ext cx="4081158" cy="1454177"/>
          </a:xfr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buNone/>
              <a:defRPr sz="2600" b="0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34829" y="4640582"/>
            <a:ext cx="3709511" cy="9016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tx2"/>
                </a:solidFill>
              </a:defRPr>
            </a:lvl1pPr>
            <a:lvl2pPr marL="342900" indent="0">
              <a:buNone/>
              <a:defRPr sz="1425" b="1"/>
            </a:lvl2pPr>
            <a:lvl3pPr marL="685800" indent="0">
              <a:buNone/>
              <a:defRPr sz="1425" b="1"/>
            </a:lvl3pPr>
            <a:lvl4pPr marL="1028700" indent="0">
              <a:buNone/>
              <a:defRPr sz="1425" b="1"/>
            </a:lvl4pPr>
            <a:lvl5pPr marL="1371600" indent="0">
              <a:buNone/>
              <a:defRPr sz="1425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0424" y="1048930"/>
            <a:ext cx="2298701" cy="46893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18" t="13367" r="12418" b="13367"/>
          <a:stretch/>
        </p:blipFill>
        <p:spPr>
          <a:xfrm>
            <a:off x="488156" y="472691"/>
            <a:ext cx="1287463" cy="109773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314" y="6379314"/>
            <a:ext cx="1677600" cy="11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5110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535481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231955 h 6858000"/>
              <a:gd name="connsiteX5" fmla="*/ 1634967 w 12192000"/>
              <a:gd name="connsiteY5" fmla="*/ 4537075 h 6858000"/>
              <a:gd name="connsiteX6" fmla="*/ 4337666 w 12192000"/>
              <a:gd name="connsiteY6" fmla="*/ 3564504 h 6858000"/>
              <a:gd name="connsiteX7" fmla="*/ 5449888 w 12192000"/>
              <a:gd name="connsiteY7" fmla="*/ 916951 h 6858000"/>
              <a:gd name="connsiteX8" fmla="*/ 5426055 w 12192000"/>
              <a:gd name="connsiteY8" fmla="*/ 4433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535481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231955"/>
                </a:lnTo>
                <a:cubicBezTo>
                  <a:pt x="494145" y="4435369"/>
                  <a:pt x="1039133" y="4537075"/>
                  <a:pt x="1634967" y="4537075"/>
                </a:cubicBezTo>
                <a:cubicBezTo>
                  <a:pt x="2699522" y="4537075"/>
                  <a:pt x="3600422" y="4212885"/>
                  <a:pt x="4337666" y="3564504"/>
                </a:cubicBezTo>
                <a:cubicBezTo>
                  <a:pt x="5078088" y="2916124"/>
                  <a:pt x="5449888" y="2034136"/>
                  <a:pt x="5449888" y="916951"/>
                </a:cubicBezTo>
                <a:cubicBezTo>
                  <a:pt x="5449888" y="754061"/>
                  <a:pt x="5441944" y="596336"/>
                  <a:pt x="5426055" y="443379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IE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7"/>
            <a:ext cx="4086225" cy="453866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525" y="574040"/>
            <a:ext cx="3039904" cy="2219960"/>
          </a:xfrm>
        </p:spPr>
        <p:txBody>
          <a:bodyPr anchor="t" anchorCtr="0">
            <a:noAutofit/>
          </a:bodyPr>
          <a:lstStyle>
            <a:lvl1pPr marL="133347" indent="-133347">
              <a:lnSpc>
                <a:spcPct val="85000"/>
              </a:lnSpc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CC3E72E-2000-4C4F-9E89-50CE98F86D7D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8107" y="5993607"/>
            <a:ext cx="703730" cy="618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8099" y="1677987"/>
            <a:ext cx="2875326" cy="262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4688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With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9"/>
          <p:cNvSpPr>
            <a:spLocks/>
          </p:cNvSpPr>
          <p:nvPr userDrawn="1"/>
        </p:nvSpPr>
        <p:spPr bwMode="auto">
          <a:xfrm>
            <a:off x="1195" y="0"/>
            <a:ext cx="4612481" cy="6858000"/>
          </a:xfrm>
          <a:custGeom>
            <a:avLst/>
            <a:gdLst>
              <a:gd name="T0" fmla="*/ 0 w 3874"/>
              <a:gd name="T1" fmla="*/ 0 h 4320"/>
              <a:gd name="T2" fmla="*/ 0 w 3874"/>
              <a:gd name="T3" fmla="*/ 4320 h 4320"/>
              <a:gd name="T4" fmla="*/ 3067 w 3874"/>
              <a:gd name="T5" fmla="*/ 4320 h 4320"/>
              <a:gd name="T6" fmla="*/ 3298 w 3874"/>
              <a:gd name="T7" fmla="*/ 4078 h 4320"/>
              <a:gd name="T8" fmla="*/ 3733 w 3874"/>
              <a:gd name="T9" fmla="*/ 3215 h 4320"/>
              <a:gd name="T10" fmla="*/ 3848 w 3874"/>
              <a:gd name="T11" fmla="*/ 2463 h 4320"/>
              <a:gd name="T12" fmla="*/ 3874 w 3874"/>
              <a:gd name="T13" fmla="*/ 1761 h 4320"/>
              <a:gd name="T14" fmla="*/ 3874 w 3874"/>
              <a:gd name="T15" fmla="*/ 0 h 4320"/>
              <a:gd name="T16" fmla="*/ 0 w 3874"/>
              <a:gd name="T17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874" h="4320">
                <a:moveTo>
                  <a:pt x="0" y="0"/>
                </a:moveTo>
                <a:cubicBezTo>
                  <a:pt x="0" y="4320"/>
                  <a:pt x="0" y="4320"/>
                  <a:pt x="0" y="4320"/>
                </a:cubicBezTo>
                <a:cubicBezTo>
                  <a:pt x="3067" y="4320"/>
                  <a:pt x="3067" y="4320"/>
                  <a:pt x="3067" y="4320"/>
                </a:cubicBezTo>
                <a:cubicBezTo>
                  <a:pt x="3147" y="4246"/>
                  <a:pt x="3224" y="4165"/>
                  <a:pt x="3298" y="4078"/>
                </a:cubicBezTo>
                <a:cubicBezTo>
                  <a:pt x="3494" y="3846"/>
                  <a:pt x="3640" y="3559"/>
                  <a:pt x="3733" y="3215"/>
                </a:cubicBezTo>
                <a:cubicBezTo>
                  <a:pt x="3792" y="2992"/>
                  <a:pt x="3832" y="2741"/>
                  <a:pt x="3848" y="2463"/>
                </a:cubicBezTo>
                <a:cubicBezTo>
                  <a:pt x="3866" y="2183"/>
                  <a:pt x="3874" y="1949"/>
                  <a:pt x="3874" y="1761"/>
                </a:cubicBezTo>
                <a:cubicBezTo>
                  <a:pt x="3874" y="1761"/>
                  <a:pt x="3874" y="941"/>
                  <a:pt x="387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13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3651651" y="0"/>
            <a:ext cx="5492353" cy="6858000"/>
          </a:xfrm>
          <a:custGeom>
            <a:avLst/>
            <a:gdLst>
              <a:gd name="connsiteX0" fmla="*/ 1281112 w 7323137"/>
              <a:gd name="connsiteY0" fmla="*/ 0 h 6858000"/>
              <a:gd name="connsiteX1" fmla="*/ 7323137 w 7323137"/>
              <a:gd name="connsiteY1" fmla="*/ 0 h 6858000"/>
              <a:gd name="connsiteX2" fmla="*/ 7323137 w 7323137"/>
              <a:gd name="connsiteY2" fmla="*/ 6858000 h 6858000"/>
              <a:gd name="connsiteX3" fmla="*/ 0 w 7323137"/>
              <a:gd name="connsiteY3" fmla="*/ 6858000 h 6858000"/>
              <a:gd name="connsiteX4" fmla="*/ 366712 w 7323137"/>
              <a:gd name="connsiteY4" fmla="*/ 6473825 h 6858000"/>
              <a:gd name="connsiteX5" fmla="*/ 1057275 w 7323137"/>
              <a:gd name="connsiteY5" fmla="*/ 5103813 h 6858000"/>
              <a:gd name="connsiteX6" fmla="*/ 1239837 w 7323137"/>
              <a:gd name="connsiteY6" fmla="*/ 3910013 h 6858000"/>
              <a:gd name="connsiteX7" fmla="*/ 1281112 w 7323137"/>
              <a:gd name="connsiteY7" fmla="*/ 2795588 h 6858000"/>
              <a:gd name="connsiteX8" fmla="*/ 1281112 w 7323137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23137" h="6858000">
                <a:moveTo>
                  <a:pt x="1281112" y="0"/>
                </a:moveTo>
                <a:lnTo>
                  <a:pt x="7323137" y="0"/>
                </a:lnTo>
                <a:lnTo>
                  <a:pt x="7323137" y="6858000"/>
                </a:lnTo>
                <a:lnTo>
                  <a:pt x="0" y="6858000"/>
                </a:lnTo>
                <a:cubicBezTo>
                  <a:pt x="127000" y="6740525"/>
                  <a:pt x="249237" y="6611938"/>
                  <a:pt x="366712" y="6473825"/>
                </a:cubicBezTo>
                <a:cubicBezTo>
                  <a:pt x="677862" y="6105525"/>
                  <a:pt x="909637" y="5649913"/>
                  <a:pt x="1057275" y="5103813"/>
                </a:cubicBezTo>
                <a:cubicBezTo>
                  <a:pt x="1150938" y="4749800"/>
                  <a:pt x="1214437" y="4351338"/>
                  <a:pt x="1239837" y="3910013"/>
                </a:cubicBezTo>
                <a:cubicBezTo>
                  <a:pt x="1268412" y="3465513"/>
                  <a:pt x="1281112" y="3094038"/>
                  <a:pt x="1281112" y="2795588"/>
                </a:cubicBezTo>
                <a:cubicBezTo>
                  <a:pt x="1281112" y="2795588"/>
                  <a:pt x="1281112" y="1493838"/>
                  <a:pt x="128111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I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0C8FA0-8EF8-4C86-AE3F-750D72AC993B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67D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00667D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52189" y="6299796"/>
            <a:ext cx="379664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67D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00667D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8107" y="5993607"/>
            <a:ext cx="703730" cy="618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8099" y="1677987"/>
            <a:ext cx="2875326" cy="262255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73698" y="1593130"/>
            <a:ext cx="3379166" cy="3723408"/>
          </a:xfrm>
        </p:spPr>
        <p:txBody>
          <a:bodyPr>
            <a:noAutofit/>
          </a:bodyPr>
          <a:lstStyle>
            <a:lvl1pPr marL="0" indent="0">
              <a:spcBef>
                <a:spcPts val="2700"/>
              </a:spcBef>
              <a:buNone/>
              <a:defRPr sz="1951" b="1">
                <a:solidFill>
                  <a:schemeClr val="accent2"/>
                </a:solidFill>
              </a:defRPr>
            </a:lvl1pPr>
            <a:lvl2pPr marL="0" indent="0">
              <a:buNone/>
              <a:defRPr sz="1951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475325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-Only Layou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5B472A8-202A-4634-A989-4DFC9A52F41B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8107" y="5993607"/>
            <a:ext cx="703730" cy="6182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" name="Group 4"/>
          <p:cNvGrpSpPr>
            <a:grpSpLocks noChangeAspect="1"/>
          </p:cNvGrpSpPr>
          <p:nvPr userDrawn="1"/>
        </p:nvGrpSpPr>
        <p:grpSpPr bwMode="auto">
          <a:xfrm>
            <a:off x="7437752" y="301661"/>
            <a:ext cx="1455509" cy="3432065"/>
            <a:chOff x="3114" y="882"/>
            <a:chExt cx="1447" cy="2559"/>
          </a:xfrm>
          <a:solidFill>
            <a:schemeClr val="bg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auto">
            <a:xfrm>
              <a:off x="3425" y="882"/>
              <a:ext cx="526" cy="500"/>
            </a:xfrm>
            <a:custGeom>
              <a:avLst/>
              <a:gdLst>
                <a:gd name="T0" fmla="*/ 32 w 222"/>
                <a:gd name="T1" fmla="*/ 183 h 211"/>
                <a:gd name="T2" fmla="*/ 111 w 222"/>
                <a:gd name="T3" fmla="*/ 211 h 211"/>
                <a:gd name="T4" fmla="*/ 190 w 222"/>
                <a:gd name="T5" fmla="*/ 183 h 211"/>
                <a:gd name="T6" fmla="*/ 222 w 222"/>
                <a:gd name="T7" fmla="*/ 106 h 211"/>
                <a:gd name="T8" fmla="*/ 190 w 222"/>
                <a:gd name="T9" fmla="*/ 29 h 211"/>
                <a:gd name="T10" fmla="*/ 111 w 222"/>
                <a:gd name="T11" fmla="*/ 0 h 211"/>
                <a:gd name="T12" fmla="*/ 32 w 222"/>
                <a:gd name="T13" fmla="*/ 29 h 211"/>
                <a:gd name="T14" fmla="*/ 0 w 222"/>
                <a:gd name="T15" fmla="*/ 106 h 211"/>
                <a:gd name="T16" fmla="*/ 32 w 222"/>
                <a:gd name="T17" fmla="*/ 183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2" h="211">
                  <a:moveTo>
                    <a:pt x="32" y="183"/>
                  </a:moveTo>
                  <a:cubicBezTo>
                    <a:pt x="54" y="202"/>
                    <a:pt x="80" y="211"/>
                    <a:pt x="111" y="211"/>
                  </a:cubicBezTo>
                  <a:cubicBezTo>
                    <a:pt x="142" y="211"/>
                    <a:pt x="168" y="202"/>
                    <a:pt x="190" y="183"/>
                  </a:cubicBezTo>
                  <a:cubicBezTo>
                    <a:pt x="211" y="164"/>
                    <a:pt x="222" y="139"/>
                    <a:pt x="222" y="106"/>
                  </a:cubicBezTo>
                  <a:cubicBezTo>
                    <a:pt x="222" y="74"/>
                    <a:pt x="211" y="48"/>
                    <a:pt x="190" y="29"/>
                  </a:cubicBezTo>
                  <a:cubicBezTo>
                    <a:pt x="168" y="10"/>
                    <a:pt x="142" y="0"/>
                    <a:pt x="111" y="0"/>
                  </a:cubicBezTo>
                  <a:cubicBezTo>
                    <a:pt x="80" y="0"/>
                    <a:pt x="54" y="10"/>
                    <a:pt x="32" y="29"/>
                  </a:cubicBezTo>
                  <a:cubicBezTo>
                    <a:pt x="11" y="48"/>
                    <a:pt x="0" y="74"/>
                    <a:pt x="0" y="106"/>
                  </a:cubicBezTo>
                  <a:cubicBezTo>
                    <a:pt x="0" y="139"/>
                    <a:pt x="11" y="164"/>
                    <a:pt x="32" y="1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4101" y="1524"/>
              <a:ext cx="460" cy="438"/>
            </a:xfrm>
            <a:custGeom>
              <a:avLst/>
              <a:gdLst>
                <a:gd name="T0" fmla="*/ 166 w 194"/>
                <a:gd name="T1" fmla="*/ 26 h 185"/>
                <a:gd name="T2" fmla="*/ 97 w 194"/>
                <a:gd name="T3" fmla="*/ 0 h 185"/>
                <a:gd name="T4" fmla="*/ 29 w 194"/>
                <a:gd name="T5" fmla="*/ 26 h 185"/>
                <a:gd name="T6" fmla="*/ 0 w 194"/>
                <a:gd name="T7" fmla="*/ 93 h 185"/>
                <a:gd name="T8" fmla="*/ 29 w 194"/>
                <a:gd name="T9" fmla="*/ 161 h 185"/>
                <a:gd name="T10" fmla="*/ 97 w 194"/>
                <a:gd name="T11" fmla="*/ 185 h 185"/>
                <a:gd name="T12" fmla="*/ 166 w 194"/>
                <a:gd name="T13" fmla="*/ 161 h 185"/>
                <a:gd name="T14" fmla="*/ 194 w 194"/>
                <a:gd name="T15" fmla="*/ 93 h 185"/>
                <a:gd name="T16" fmla="*/ 166 w 194"/>
                <a:gd name="T17" fmla="*/ 2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185">
                  <a:moveTo>
                    <a:pt x="166" y="26"/>
                  </a:moveTo>
                  <a:cubicBezTo>
                    <a:pt x="147" y="9"/>
                    <a:pt x="124" y="0"/>
                    <a:pt x="97" y="0"/>
                  </a:cubicBezTo>
                  <a:cubicBezTo>
                    <a:pt x="70" y="0"/>
                    <a:pt x="47" y="9"/>
                    <a:pt x="29" y="26"/>
                  </a:cubicBezTo>
                  <a:cubicBezTo>
                    <a:pt x="10" y="42"/>
                    <a:pt x="0" y="65"/>
                    <a:pt x="0" y="93"/>
                  </a:cubicBezTo>
                  <a:cubicBezTo>
                    <a:pt x="0" y="122"/>
                    <a:pt x="10" y="144"/>
                    <a:pt x="29" y="161"/>
                  </a:cubicBezTo>
                  <a:cubicBezTo>
                    <a:pt x="47" y="177"/>
                    <a:pt x="70" y="185"/>
                    <a:pt x="97" y="185"/>
                  </a:cubicBezTo>
                  <a:cubicBezTo>
                    <a:pt x="124" y="185"/>
                    <a:pt x="147" y="177"/>
                    <a:pt x="166" y="161"/>
                  </a:cubicBezTo>
                  <a:cubicBezTo>
                    <a:pt x="185" y="144"/>
                    <a:pt x="194" y="122"/>
                    <a:pt x="194" y="93"/>
                  </a:cubicBezTo>
                  <a:cubicBezTo>
                    <a:pt x="194" y="65"/>
                    <a:pt x="185" y="42"/>
                    <a:pt x="166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4096" y="2033"/>
              <a:ext cx="456" cy="735"/>
            </a:xfrm>
            <a:custGeom>
              <a:avLst/>
              <a:gdLst>
                <a:gd name="T0" fmla="*/ 33 w 192"/>
                <a:gd name="T1" fmla="*/ 308 h 310"/>
                <a:gd name="T2" fmla="*/ 192 w 192"/>
                <a:gd name="T3" fmla="*/ 114 h 310"/>
                <a:gd name="T4" fmla="*/ 96 w 192"/>
                <a:gd name="T5" fmla="*/ 0 h 310"/>
                <a:gd name="T6" fmla="*/ 0 w 192"/>
                <a:gd name="T7" fmla="*/ 90 h 310"/>
                <a:gd name="T8" fmla="*/ 44 w 192"/>
                <a:gd name="T9" fmla="*/ 169 h 310"/>
                <a:gd name="T10" fmla="*/ 18 w 192"/>
                <a:gd name="T11" fmla="*/ 250 h 310"/>
                <a:gd name="T12" fmla="*/ 24 w 192"/>
                <a:gd name="T13" fmla="*/ 302 h 310"/>
                <a:gd name="T14" fmla="*/ 33 w 192"/>
                <a:gd name="T15" fmla="*/ 308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310">
                  <a:moveTo>
                    <a:pt x="33" y="308"/>
                  </a:moveTo>
                  <a:cubicBezTo>
                    <a:pt x="133" y="264"/>
                    <a:pt x="192" y="198"/>
                    <a:pt x="192" y="114"/>
                  </a:cubicBezTo>
                  <a:cubicBezTo>
                    <a:pt x="192" y="41"/>
                    <a:pt x="149" y="0"/>
                    <a:pt x="96" y="0"/>
                  </a:cubicBezTo>
                  <a:cubicBezTo>
                    <a:pt x="43" y="0"/>
                    <a:pt x="0" y="38"/>
                    <a:pt x="0" y="90"/>
                  </a:cubicBezTo>
                  <a:cubicBezTo>
                    <a:pt x="0" y="122"/>
                    <a:pt x="14" y="153"/>
                    <a:pt x="44" y="169"/>
                  </a:cubicBezTo>
                  <a:cubicBezTo>
                    <a:pt x="26" y="194"/>
                    <a:pt x="18" y="221"/>
                    <a:pt x="18" y="250"/>
                  </a:cubicBezTo>
                  <a:cubicBezTo>
                    <a:pt x="18" y="266"/>
                    <a:pt x="20" y="283"/>
                    <a:pt x="24" y="302"/>
                  </a:cubicBezTo>
                  <a:cubicBezTo>
                    <a:pt x="24" y="302"/>
                    <a:pt x="26" y="310"/>
                    <a:pt x="33" y="30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3114" y="1484"/>
              <a:ext cx="875" cy="1957"/>
            </a:xfrm>
            <a:custGeom>
              <a:avLst/>
              <a:gdLst>
                <a:gd name="T0" fmla="*/ 294 w 369"/>
                <a:gd name="T1" fmla="*/ 28 h 826"/>
                <a:gd name="T2" fmla="*/ 146 w 369"/>
                <a:gd name="T3" fmla="*/ 26 h 826"/>
                <a:gd name="T4" fmla="*/ 137 w 369"/>
                <a:gd name="T5" fmla="*/ 40 h 826"/>
                <a:gd name="T6" fmla="*/ 137 w 369"/>
                <a:gd name="T7" fmla="*/ 40 h 826"/>
                <a:gd name="T8" fmla="*/ 137 w 369"/>
                <a:gd name="T9" fmla="*/ 246 h 826"/>
                <a:gd name="T10" fmla="*/ 137 w 369"/>
                <a:gd name="T11" fmla="*/ 247 h 826"/>
                <a:gd name="T12" fmla="*/ 137 w 369"/>
                <a:gd name="T13" fmla="*/ 552 h 826"/>
                <a:gd name="T14" fmla="*/ 132 w 369"/>
                <a:gd name="T15" fmla="*/ 598 h 826"/>
                <a:gd name="T16" fmla="*/ 115 w 369"/>
                <a:gd name="T17" fmla="*/ 635 h 826"/>
                <a:gd name="T18" fmla="*/ 80 w 369"/>
                <a:gd name="T19" fmla="*/ 661 h 826"/>
                <a:gd name="T20" fmla="*/ 15 w 369"/>
                <a:gd name="T21" fmla="*/ 675 h 826"/>
                <a:gd name="T22" fmla="*/ 4 w 369"/>
                <a:gd name="T23" fmla="*/ 686 h 826"/>
                <a:gd name="T24" fmla="*/ 4 w 369"/>
                <a:gd name="T25" fmla="*/ 781 h 826"/>
                <a:gd name="T26" fmla="*/ 132 w 369"/>
                <a:gd name="T27" fmla="*/ 824 h 826"/>
                <a:gd name="T28" fmla="*/ 189 w 369"/>
                <a:gd name="T29" fmla="*/ 816 h 826"/>
                <a:gd name="T30" fmla="*/ 253 w 369"/>
                <a:gd name="T31" fmla="*/ 789 h 826"/>
                <a:gd name="T32" fmla="*/ 311 w 369"/>
                <a:gd name="T33" fmla="*/ 740 h 826"/>
                <a:gd name="T34" fmla="*/ 350 w 369"/>
                <a:gd name="T35" fmla="*/ 664 h 826"/>
                <a:gd name="T36" fmla="*/ 360 w 369"/>
                <a:gd name="T37" fmla="*/ 598 h 826"/>
                <a:gd name="T38" fmla="*/ 362 w 369"/>
                <a:gd name="T39" fmla="*/ 536 h 826"/>
                <a:gd name="T40" fmla="*/ 362 w 369"/>
                <a:gd name="T41" fmla="*/ 141 h 826"/>
                <a:gd name="T42" fmla="*/ 294 w 369"/>
                <a:gd name="T43" fmla="*/ 28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9" h="826">
                  <a:moveTo>
                    <a:pt x="294" y="28"/>
                  </a:moveTo>
                  <a:cubicBezTo>
                    <a:pt x="203" y="0"/>
                    <a:pt x="146" y="26"/>
                    <a:pt x="146" y="26"/>
                  </a:cubicBezTo>
                  <a:cubicBezTo>
                    <a:pt x="141" y="29"/>
                    <a:pt x="137" y="34"/>
                    <a:pt x="137" y="40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7"/>
                    <a:pt x="137" y="247"/>
                  </a:cubicBezTo>
                  <a:cubicBezTo>
                    <a:pt x="137" y="552"/>
                    <a:pt x="137" y="552"/>
                    <a:pt x="137" y="552"/>
                  </a:cubicBezTo>
                  <a:cubicBezTo>
                    <a:pt x="137" y="569"/>
                    <a:pt x="135" y="584"/>
                    <a:pt x="132" y="598"/>
                  </a:cubicBezTo>
                  <a:cubicBezTo>
                    <a:pt x="129" y="612"/>
                    <a:pt x="124" y="624"/>
                    <a:pt x="115" y="635"/>
                  </a:cubicBezTo>
                  <a:cubicBezTo>
                    <a:pt x="107" y="645"/>
                    <a:pt x="95" y="654"/>
                    <a:pt x="80" y="661"/>
                  </a:cubicBezTo>
                  <a:cubicBezTo>
                    <a:pt x="80" y="661"/>
                    <a:pt x="55" y="672"/>
                    <a:pt x="15" y="675"/>
                  </a:cubicBezTo>
                  <a:cubicBezTo>
                    <a:pt x="15" y="675"/>
                    <a:pt x="5" y="676"/>
                    <a:pt x="4" y="686"/>
                  </a:cubicBezTo>
                  <a:cubicBezTo>
                    <a:pt x="4" y="686"/>
                    <a:pt x="0" y="758"/>
                    <a:pt x="4" y="781"/>
                  </a:cubicBezTo>
                  <a:cubicBezTo>
                    <a:pt x="6" y="826"/>
                    <a:pt x="132" y="824"/>
                    <a:pt x="132" y="824"/>
                  </a:cubicBezTo>
                  <a:cubicBezTo>
                    <a:pt x="148" y="824"/>
                    <a:pt x="167" y="821"/>
                    <a:pt x="189" y="816"/>
                  </a:cubicBezTo>
                  <a:cubicBezTo>
                    <a:pt x="210" y="811"/>
                    <a:pt x="232" y="802"/>
                    <a:pt x="253" y="789"/>
                  </a:cubicBezTo>
                  <a:cubicBezTo>
                    <a:pt x="275" y="777"/>
                    <a:pt x="294" y="760"/>
                    <a:pt x="311" y="740"/>
                  </a:cubicBezTo>
                  <a:cubicBezTo>
                    <a:pt x="329" y="720"/>
                    <a:pt x="341" y="694"/>
                    <a:pt x="350" y="664"/>
                  </a:cubicBezTo>
                  <a:cubicBezTo>
                    <a:pt x="355" y="645"/>
                    <a:pt x="358" y="623"/>
                    <a:pt x="360" y="598"/>
                  </a:cubicBezTo>
                  <a:cubicBezTo>
                    <a:pt x="361" y="574"/>
                    <a:pt x="362" y="553"/>
                    <a:pt x="362" y="536"/>
                  </a:cubicBezTo>
                  <a:cubicBezTo>
                    <a:pt x="362" y="141"/>
                    <a:pt x="362" y="141"/>
                    <a:pt x="362" y="141"/>
                  </a:cubicBezTo>
                  <a:cubicBezTo>
                    <a:pt x="362" y="141"/>
                    <a:pt x="369" y="51"/>
                    <a:pt x="294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9144001" y="3410562"/>
            <a:ext cx="1907510" cy="5080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Use Format Background </a:t>
            </a:r>
            <a:br>
              <a: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</a:br>
            <a:r>
              <a:rPr kumimoji="0" lang="en-GB" sz="135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to change the image fill</a:t>
            </a:r>
            <a:endParaRPr kumimoji="0" lang="en-IE" sz="13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8743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7461" y="2435685"/>
            <a:ext cx="3777343" cy="4240893"/>
          </a:xfrm>
        </p:spPr>
        <p:txBody>
          <a:bodyPr anchor="b" anchorCtr="0"/>
          <a:lstStyle>
            <a:lvl1pPr>
              <a:lnSpc>
                <a:spcPct val="7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993289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oing Fo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458" y="4492131"/>
            <a:ext cx="2548618" cy="187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69405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3697" y="1913645"/>
            <a:ext cx="3591000" cy="4263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9303" y="1913645"/>
            <a:ext cx="3591000" cy="4263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0C68A-8F34-48C3-B593-A0CBDCE82109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73872" y="1085757"/>
            <a:ext cx="8196263" cy="581025"/>
          </a:xfrm>
        </p:spPr>
        <p:txBody>
          <a:bodyPr tIns="0">
            <a:noAutofit/>
          </a:bodyPr>
          <a:lstStyle>
            <a:lvl1pPr marL="0" indent="0">
              <a:buNone/>
              <a:defRPr sz="247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57702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B89351-546A-4FE2-8D6F-47581AB22E3B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E723D5-19BE-4EE0-A0FA-FD14842EE53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86596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3C9313-4EB8-423C-BDE4-5C6F6D2E61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52D7D37-4F8E-4FDA-A007-7888FF04A2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4A3CF7-1C8B-4121-94E0-2655B3457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A2516B-C153-4BED-9B43-C8BD387921AE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9D6486-FFE5-4F35-A9D7-01176C0F7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2C4B10-2B25-4416-9519-8D88586E9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3FD0-5DEE-4B46-B23E-C7F639EE44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4191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7E211-61B1-43BB-AED5-896678CDA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82D4C1-49B2-46F0-9C2F-CE189527B8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2927BB-ECB1-406A-A3FD-E0C297291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4AEBA-9F8C-40D9-AFDD-0C03FD1EE19B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FE6194-F453-4F76-90C7-D5E8ECA293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DCF525-F387-4607-BB3C-D5CE10DA5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3FD0-5DEE-4B46-B23E-C7F639EE44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4087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14F0F-ACDB-4C4D-A842-C50E1A224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23418-7325-498D-8471-DFA21356D5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3ED82A-907D-4705-A38B-9F7D58CC4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DA0F9-D5C8-4543-89EB-F44747CC105E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351DA7-F8BF-41EB-BF9E-018286A88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0628A3-A050-408D-BFAC-1636E2904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3FD0-5DEE-4B46-B23E-C7F639EE44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6598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07DF6-E721-4BCE-B720-5ACDFE458F83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6005408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670F7-6090-48C9-AA5C-C7002C901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4D94EF-10C3-4DA5-94CE-319798BAEC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4FB5D0-A44C-4357-A31E-75CD13C54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4833A0-DCE1-420A-AE90-93C65D29D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98B68-A602-42BF-945D-D8AC4ED64018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313F71-7108-4104-BF30-B0C9F5560A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4DF82E-8CBE-44E0-913A-2DCF9C761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3FD0-5DEE-4B46-B23E-C7F639EE44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06565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7B496-DB11-49BA-80D1-96FA79AB3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54207F-652C-4BF9-A01E-DC1BE9FFAB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5BFBAE-1BA0-4CC2-ADB6-F24A1F1EBC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0E6B75-9731-4C2A-A286-A85E6EFA1D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8F977B-0ECD-4BE1-9124-087D5E99F6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2373FD0-A1AD-420B-8F3E-C76E4759A1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BFB98-B93A-45DB-BC0F-811D4C40B4FB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635560E-0C03-4204-80D6-51145B331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C033EE-AF50-4B22-A6CA-896489535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3FD0-5DEE-4B46-B23E-C7F639EE44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8348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D0F78B-FE49-4448-97CC-4E4F2B145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E8AA3-B80D-4DD1-9CA2-59EC0BFA15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8BCBC-B21C-475E-9DC7-7C29EDA02316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A730B5-0312-4821-A9D7-C1F09DA2B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A79806-73ED-403F-BAF8-EE257F1F3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3FD0-5DEE-4B46-B23E-C7F639EE44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1859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0E5A6C-CBA8-44FD-8F60-E5C33FB735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74680-1F41-4E2D-BB15-1735311AA245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8B1687-7BE7-433D-B3EF-9B1B977A3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E189BF-BCEC-4140-BB3A-E008BBACB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3FD0-5DEE-4B46-B23E-C7F639EE44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8961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07F301-DC56-45B2-92FF-F4C94AFBA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33B06F-F957-4812-AF6E-BBAE966E06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6BC1A-0E73-4F40-9A3A-4254EAAC5D1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D5951B-3FAA-4A74-B191-C86F4EF73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BB2DC0-A357-4023-B1DB-46DC4BC19268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351E69-66BA-4696-9259-F511715891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32310A-20D3-44DC-BE80-A6521446F0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3FD0-5DEE-4B46-B23E-C7F639EE44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98894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E9AD9A-79E6-4768-841A-C172127F7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089C284-6C64-40D4-A12B-E6A7888B26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75F85A-402C-4083-8171-6FD1A9D646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6219EE-35B7-45FF-A530-C64254F331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3A30F-C17E-4025-867A-FE67F724ACCD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180D28-5410-4C7E-AA44-40B90B011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9D7106-5FB8-4620-8238-F6517901EA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3FD0-5DEE-4B46-B23E-C7F639EE44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437955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B5FC51-42B2-4A37-A7DC-0406BEFD3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031D5BA-2374-4612-BD2A-8EB24E4B21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D51FB5-24F0-4B22-8431-34EC9CF72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AC3DBA-2E15-4126-9C9B-7BBF4961C861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1CF1C3-A68D-4DB4-8878-705D348A6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1D58D9-7DE9-4E04-BC24-FB36C3ED5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3FD0-5DEE-4B46-B23E-C7F639EE44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4171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7D64075-4ED0-4C78-8613-BCC607C6732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9CA490-2291-49F8-8E21-9A5564BB78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860D83-AF22-4FBF-B2BE-A77E7E04A1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ACB9E1-A6B8-4A61-B045-D205F14F8786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01C6AA-6C52-4847-88A5-A86D0C508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0DF11D-4A05-460A-A4A3-65F57C7DC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3FD0-5DEE-4B46-B23E-C7F639EE44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4723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0B572-C899-4C28-B1AF-0009F1AA01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095222-6883-44E0-B3D2-ABE08FF3EE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43A2CE-EAB9-4E67-8C82-87B2F17FD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0592C-5DDE-42C9-BCD8-C5975073317A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94AECC-86AF-4478-B336-2CFD6FFED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1AC924-6DDB-4E7D-8D60-25CB64D40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5E737-E51C-41AA-A18F-962F76DAB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1350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6247A-2DAB-4626-B18B-739CEB512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2BC501-BBAD-4286-90DF-F89B7A45D9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660A33-75A7-415D-878B-8A16F8D6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2B438-0C25-4548-B29C-6A733DD9F4CE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B1AF93-169D-4F04-9082-66FC55A89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E7A13E-A581-4BB1-A406-381DE3440C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5E737-E51C-41AA-A18F-962F76DAB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8505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4434" y="1905000"/>
            <a:ext cx="6836789" cy="4271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77183-8945-4168-876E-D92A910455C8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5902552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A9801D-709C-4050-9529-96EDF1A7B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538C24-970F-4BF2-9D79-87FE7CDA1C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5EE916-FE4D-478B-AC4C-B9A0EF277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4481B-30BD-4A8D-98E2-A2CD6308820C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C82C60-B779-4AB8-9FE4-04B6E7657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A86952-B7CE-4FF9-B0D1-C1BC033FC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5E737-E51C-41AA-A18F-962F76DAB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71100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A9779-E3BB-424A-AED6-78824CAE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6CB964-4F8A-4383-A422-0B064D1CD5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1CF3A5-2EA8-4E9B-8085-FCFD90747C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18CFF8-0BEC-4791-AD12-50D5B4B58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3D8AC-CF0E-4FBB-9DC8-0DF5E729B037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DBB34A-423A-4731-B930-5C985FF924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064656-64E3-40C4-956E-CCD8F31F8D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5E737-E51C-41AA-A18F-962F76DAB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0510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BF13B-4B12-4F98-84C0-6C8ADE293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CEB20B-8C9B-4912-8A16-A3E4A2B7CC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9C39580-7832-4BE6-93EA-721AEFE79A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8B69EA-530C-41E0-84E8-E86A4B71521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DA1BA36-060A-4EAA-84A5-DF74D36B4C2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36B3E57-A79B-4D59-B985-4C14F51854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C0FF7-21DA-49D8-AD2A-E7488FF86F41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D561E6-90DA-4BFC-A635-BF56555D8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513AAC-89D1-404A-B19D-C010305C0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5E737-E51C-41AA-A18F-962F76DAB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51221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3EA4FB-5CF5-402C-9963-5BDF9947E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3F7720-AE61-41C9-B78E-7B27A85D3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025E5-8069-4AE7-999F-B3C0C1859BE2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A3F0E3-6D7E-4F8D-8046-E2CEF0958D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224665-5C2D-4E2B-BF82-0077FE9C0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5E737-E51C-41AA-A18F-962F76DAB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0049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850EB2-85C3-44D5-A2F9-E3B629E27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74002-929E-4C5D-9BB2-F1282BC68AD8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3A119F-05DE-4C31-B41C-ADFA331229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240C43-262C-4F9C-8325-6602DF0EFD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5E737-E51C-41AA-A18F-962F76DAB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4454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86A6A9-70B3-4AE6-B955-8C73CC6FB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389F59-50C4-4258-8359-2A5DE8FBD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D48F42-E1B0-4CB0-8580-6A5A102582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06E401-01E8-459D-BB87-C215391104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F111A2-44A8-4280-8233-4432627C421A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BC826A-E6F5-4704-8DF2-10DC5B123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2286B2-EF46-44A4-88A8-B76AD4E44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5E737-E51C-41AA-A18F-962F76DAB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2630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03459E-315F-474C-ABDA-11240F727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D523B7-41B6-46B1-9C58-4AC757AA37E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4DE6D9-75A4-48D1-ACA6-3BDA2A0555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D5870B-20AC-4373-AFC8-B229B7C321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3C5A9-52E7-4CC2-8237-C124E9D2CD72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3C977A-7129-4E07-A532-5D18EABCCA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991EF4-7FBA-4FB6-B70D-E8AEC4D19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5E737-E51C-41AA-A18F-962F76DAB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7965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33794-D99F-472E-977A-575D621D9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432BEB-E39E-4228-B0F9-D4E060DC0D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9E565D-7618-4D98-8EE3-9ECA598D6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18937-C0E1-48C8-A732-C03B864E3705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A94FFD-07A9-4FDD-92D0-4BCA62A2C9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3AD29-E7CD-4BBB-BC66-E4E0E2099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5E737-E51C-41AA-A18F-962F76DAB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1854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014F055-80DA-41CE-9304-DD215261582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38F6102-ADCE-404C-B736-6BAC7AC0EC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1DF6CC-0ED3-47F1-ACD1-97907054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9C4A15-D389-4BA0-9C24-825830008352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8FC93-F2BF-4F32-AADF-ED5F11E370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13A469-931E-4002-8207-73D7CD7C91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5E737-E51C-41AA-A18F-962F76DAB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3771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405D5-7F04-4170-9679-8AFA4214F371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39160" y="1057173"/>
            <a:ext cx="7869114" cy="581025"/>
          </a:xfrm>
        </p:spPr>
        <p:txBody>
          <a:bodyPr t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0794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5"/>
          <p:cNvSpPr>
            <a:spLocks/>
          </p:cNvSpPr>
          <p:nvPr userDrawn="1"/>
        </p:nvSpPr>
        <p:spPr bwMode="auto">
          <a:xfrm>
            <a:off x="1" y="1"/>
            <a:ext cx="5216434" cy="4298256"/>
          </a:xfrm>
          <a:custGeom>
            <a:avLst/>
            <a:gdLst>
              <a:gd name="T0" fmla="*/ 0 w 1642"/>
              <a:gd name="T1" fmla="*/ 1306 h 1352"/>
              <a:gd name="T2" fmla="*/ 377 w 1642"/>
              <a:gd name="T3" fmla="*/ 1352 h 1352"/>
              <a:gd name="T4" fmla="*/ 1273 w 1642"/>
              <a:gd name="T5" fmla="*/ 1030 h 1352"/>
              <a:gd name="T6" fmla="*/ 1642 w 1642"/>
              <a:gd name="T7" fmla="*/ 152 h 1352"/>
              <a:gd name="T8" fmla="*/ 1634 w 1642"/>
              <a:gd name="T9" fmla="*/ 0 h 1352"/>
              <a:gd name="T10" fmla="*/ 0 w 1642"/>
              <a:gd name="T11" fmla="*/ 0 h 1352"/>
              <a:gd name="T12" fmla="*/ 0 w 1642"/>
              <a:gd name="T13" fmla="*/ 1306 h 1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42" h="1352">
                <a:moveTo>
                  <a:pt x="0" y="1306"/>
                </a:moveTo>
                <a:cubicBezTo>
                  <a:pt x="118" y="1336"/>
                  <a:pt x="244" y="1352"/>
                  <a:pt x="377" y="1352"/>
                </a:cubicBezTo>
                <a:cubicBezTo>
                  <a:pt x="730" y="1352"/>
                  <a:pt x="1029" y="1245"/>
                  <a:pt x="1273" y="1030"/>
                </a:cubicBezTo>
                <a:cubicBezTo>
                  <a:pt x="1518" y="815"/>
                  <a:pt x="1642" y="523"/>
                  <a:pt x="1642" y="152"/>
                </a:cubicBezTo>
                <a:cubicBezTo>
                  <a:pt x="1642" y="100"/>
                  <a:pt x="1639" y="49"/>
                  <a:pt x="1634" y="0"/>
                </a:cubicBezTo>
                <a:cubicBezTo>
                  <a:pt x="0" y="0"/>
                  <a:pt x="0" y="0"/>
                  <a:pt x="0" y="0"/>
                </a:cubicBezTo>
                <a:lnTo>
                  <a:pt x="0" y="13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434" y="487680"/>
            <a:ext cx="2955303" cy="1114697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4434" y="1602377"/>
            <a:ext cx="2955303" cy="1500187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8B1FBF-664D-4A2F-856E-B752D89C91B0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09558" y="6036468"/>
            <a:ext cx="895570" cy="5900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4918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9160" y="1876425"/>
            <a:ext cx="7869114" cy="408622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39160" y="1059624"/>
            <a:ext cx="7869114" cy="581025"/>
          </a:xfrm>
        </p:spPr>
        <p:txBody>
          <a:bodyPr t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D2FC4D4-731E-48A9-AC6B-0B5A99F81527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4353078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 with doub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65B549-2345-4E1B-AC34-EF5BFFFDAA34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39160" y="1066701"/>
            <a:ext cx="7869114" cy="581025"/>
          </a:xfrm>
        </p:spPr>
        <p:txBody>
          <a:bodyPr t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39160" y="2017336"/>
            <a:ext cx="7692688" cy="437744"/>
          </a:xfrm>
          <a:solidFill>
            <a:schemeClr val="accent4"/>
          </a:solidFill>
        </p:spPr>
        <p:txBody>
          <a:bodyPr tIns="72000" bIns="0" anchor="ctr" anchorCtr="0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5"/>
          </p:nvPr>
        </p:nvSpPr>
        <p:spPr>
          <a:xfrm>
            <a:off x="639160" y="2455864"/>
            <a:ext cx="7685690" cy="2811461"/>
          </a:xfrm>
        </p:spPr>
        <p:txBody>
          <a:bodyPr/>
          <a:lstStyle/>
          <a:p>
            <a:endParaRPr lang="en-IE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0236" y="5772151"/>
            <a:ext cx="3741264" cy="258936"/>
          </a:xfrm>
        </p:spPr>
        <p:txBody>
          <a:bodyPr tIns="0">
            <a:no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636324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160" y="2019300"/>
            <a:ext cx="3389915" cy="383971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38650" y="2019300"/>
            <a:ext cx="4069624" cy="383971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A06FD2-5C6C-4226-8C01-8E33EC0A12F5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39160" y="1066701"/>
            <a:ext cx="7869114" cy="581025"/>
          </a:xfrm>
        </p:spPr>
        <p:txBody>
          <a:bodyPr t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241817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0529BC-6C3C-41D6-97CB-B46D9A2A75E1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E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39160" y="1066701"/>
            <a:ext cx="7869114" cy="581025"/>
          </a:xfrm>
        </p:spPr>
        <p:txBody>
          <a:bodyPr t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644434" y="1812608"/>
            <a:ext cx="6426926" cy="578717"/>
          </a:xfrm>
        </p:spPr>
        <p:txBody>
          <a:bodyPr bIns="0" anchor="b">
            <a:noAutofit/>
          </a:bodyPr>
          <a:lstStyle>
            <a:lvl1pPr marL="0" indent="0">
              <a:buNone/>
              <a:defRPr sz="220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644434" y="2375588"/>
            <a:ext cx="6426926" cy="13778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4434" y="3888380"/>
            <a:ext cx="6426926" cy="578717"/>
          </a:xfrm>
        </p:spPr>
        <p:txBody>
          <a:bodyPr bIns="0" anchor="b">
            <a:noAutofit/>
          </a:bodyPr>
          <a:lstStyle>
            <a:lvl1pPr marL="0" indent="0">
              <a:buNone/>
              <a:defRPr sz="220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44434" y="4451360"/>
            <a:ext cx="6426926" cy="13778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4546107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508322-E093-4903-AD17-9AE486FAD44A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39160" y="1066701"/>
            <a:ext cx="7869114" cy="581025"/>
          </a:xfrm>
        </p:spPr>
        <p:txBody>
          <a:bodyPr t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05678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9160" y="577850"/>
            <a:ext cx="3683524" cy="5079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I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160" y="1913642"/>
            <a:ext cx="3683524" cy="406295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4569E-1B0B-4BBA-925E-95DBD2A3DA24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988548" y="577851"/>
            <a:ext cx="3681584" cy="5398744"/>
          </a:xfrm>
        </p:spPr>
        <p:txBody>
          <a:bodyPr/>
          <a:lstStyle/>
          <a:p>
            <a:endParaRPr lang="en-IE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39160" y="466725"/>
            <a:ext cx="3683524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39332" y="1066701"/>
            <a:ext cx="3683352" cy="581025"/>
          </a:xfrm>
        </p:spPr>
        <p:txBody>
          <a:bodyPr t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08621" y="6042659"/>
            <a:ext cx="891540" cy="5691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961881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723FF-98DD-44F4-9E70-E12413F9282E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2211170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6577" y="1905000"/>
            <a:ext cx="6653909" cy="42719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E803EE-463F-43C5-9BA0-B1CA6E95E4BE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65941051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80EB8-A7F3-49C4-8D05-5C8654C352E4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44546981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14E9F-F330-4752-9DD7-EE31DDB36B10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8581773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/>
          </p:cNvSpPr>
          <p:nvPr userDrawn="1"/>
        </p:nvSpPr>
        <p:spPr bwMode="auto">
          <a:xfrm flipH="1">
            <a:off x="4188824" y="1"/>
            <a:ext cx="4955177" cy="4298256"/>
          </a:xfrm>
          <a:custGeom>
            <a:avLst/>
            <a:gdLst>
              <a:gd name="connsiteX0" fmla="*/ 4929762 w 4955177"/>
              <a:gd name="connsiteY0" fmla="*/ 0 h 4298256"/>
              <a:gd name="connsiteX1" fmla="*/ 12488 w 4955177"/>
              <a:gd name="connsiteY1" fmla="*/ 0 h 4298256"/>
              <a:gd name="connsiteX2" fmla="*/ 0 w 4955177"/>
              <a:gd name="connsiteY2" fmla="*/ 0 h 4298256"/>
              <a:gd name="connsiteX3" fmla="*/ 0 w 4955177"/>
              <a:gd name="connsiteY3" fmla="*/ 4209669 h 4298256"/>
              <a:gd name="connsiteX4" fmla="*/ 24612 w 4955177"/>
              <a:gd name="connsiteY4" fmla="*/ 4215101 h 4298256"/>
              <a:gd name="connsiteX5" fmla="*/ 936426 w 4955177"/>
              <a:gd name="connsiteY5" fmla="*/ 4298256 h 4298256"/>
              <a:gd name="connsiteX6" fmla="*/ 3782909 w 4955177"/>
              <a:gd name="connsiteY6" fmla="*/ 3274559 h 4298256"/>
              <a:gd name="connsiteX7" fmla="*/ 4955177 w 4955177"/>
              <a:gd name="connsiteY7" fmla="*/ 483236 h 4298256"/>
              <a:gd name="connsiteX8" fmla="*/ 4929762 w 4955177"/>
              <a:gd name="connsiteY8" fmla="*/ 0 h 4298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55177" h="4298256">
                <a:moveTo>
                  <a:pt x="4929762" y="0"/>
                </a:moveTo>
                <a:cubicBezTo>
                  <a:pt x="1685375" y="0"/>
                  <a:pt x="468730" y="0"/>
                  <a:pt x="12488" y="0"/>
                </a:cubicBezTo>
                <a:lnTo>
                  <a:pt x="0" y="0"/>
                </a:lnTo>
                <a:lnTo>
                  <a:pt x="0" y="4209669"/>
                </a:lnTo>
                <a:lnTo>
                  <a:pt x="24612" y="4215101"/>
                </a:lnTo>
                <a:cubicBezTo>
                  <a:pt x="315148" y="4269644"/>
                  <a:pt x="619532" y="4298256"/>
                  <a:pt x="936426" y="4298256"/>
                </a:cubicBezTo>
                <a:cubicBezTo>
                  <a:pt x="2057864" y="4298256"/>
                  <a:pt x="3007751" y="3958083"/>
                  <a:pt x="3782909" y="3274559"/>
                </a:cubicBezTo>
                <a:cubicBezTo>
                  <a:pt x="4561244" y="2591035"/>
                  <a:pt x="4955177" y="1662713"/>
                  <a:pt x="4955177" y="483236"/>
                </a:cubicBezTo>
                <a:cubicBezTo>
                  <a:pt x="4955177" y="317918"/>
                  <a:pt x="4945647" y="155780"/>
                  <a:pt x="492976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I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0535" y="496388"/>
            <a:ext cx="2955303" cy="1140007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10535" y="1663384"/>
            <a:ext cx="2955303" cy="1500187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2BFDA1-3136-4FA7-80F8-6A376A5B6FCF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09558" y="6036468"/>
            <a:ext cx="895570" cy="5900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3839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2076450"/>
            <a:ext cx="5663987" cy="4781550"/>
          </a:xfrm>
          <a:custGeom>
            <a:avLst/>
            <a:gdLst>
              <a:gd name="T0" fmla="*/ 1751 w 1782"/>
              <a:gd name="T1" fmla="*/ 1504 h 1504"/>
              <a:gd name="T2" fmla="*/ 1782 w 1782"/>
              <a:gd name="T3" fmla="*/ 1199 h 1504"/>
              <a:gd name="T4" fmla="*/ 1413 w 1782"/>
              <a:gd name="T5" fmla="*/ 322 h 1504"/>
              <a:gd name="T6" fmla="*/ 517 w 1782"/>
              <a:gd name="T7" fmla="*/ 0 h 1504"/>
              <a:gd name="T8" fmla="*/ 0 w 1782"/>
              <a:gd name="T9" fmla="*/ 91 h 1504"/>
              <a:gd name="T10" fmla="*/ 0 w 1782"/>
              <a:gd name="T11" fmla="*/ 1504 h 1504"/>
              <a:gd name="T12" fmla="*/ 1751 w 1782"/>
              <a:gd name="T13" fmla="*/ 1504 h 15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82" h="1504">
                <a:moveTo>
                  <a:pt x="1751" y="1504"/>
                </a:moveTo>
                <a:cubicBezTo>
                  <a:pt x="1772" y="1409"/>
                  <a:pt x="1782" y="1307"/>
                  <a:pt x="1782" y="1199"/>
                </a:cubicBezTo>
                <a:cubicBezTo>
                  <a:pt x="1782" y="829"/>
                  <a:pt x="1659" y="537"/>
                  <a:pt x="1413" y="322"/>
                </a:cubicBezTo>
                <a:cubicBezTo>
                  <a:pt x="1169" y="107"/>
                  <a:pt x="871" y="0"/>
                  <a:pt x="517" y="0"/>
                </a:cubicBezTo>
                <a:cubicBezTo>
                  <a:pt x="330" y="0"/>
                  <a:pt x="157" y="30"/>
                  <a:pt x="0" y="91"/>
                </a:cubicBezTo>
                <a:cubicBezTo>
                  <a:pt x="0" y="1504"/>
                  <a:pt x="0" y="1504"/>
                  <a:pt x="0" y="1504"/>
                </a:cubicBezTo>
                <a:lnTo>
                  <a:pt x="1751" y="15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9160" y="3405135"/>
            <a:ext cx="2955303" cy="176593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16C40C4-80DD-4E90-A863-6A415E68EC25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49391" y="6299790"/>
            <a:ext cx="335160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716" y="588921"/>
            <a:ext cx="3742067" cy="118114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09558" y="6036468"/>
            <a:ext cx="895570" cy="5900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77670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image" Target="../media/image20.png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1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4434" y="623888"/>
            <a:ext cx="7855132" cy="10668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4434" y="1672046"/>
            <a:ext cx="5710646" cy="4504917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 dirty="0"/>
              <a:t>Bullet Tier 1: </a:t>
            </a:r>
            <a:r>
              <a:rPr lang="en-US" dirty="0" err="1"/>
              <a:t>Lorum</a:t>
            </a:r>
            <a:r>
              <a:rPr lang="en-US" dirty="0"/>
              <a:t> Ipsum </a:t>
            </a:r>
            <a:r>
              <a:rPr lang="en-US" dirty="0" err="1"/>
              <a:t>lluptatem</a:t>
            </a:r>
            <a:r>
              <a:rPr lang="en-US" dirty="0"/>
              <a:t> qui </a:t>
            </a:r>
            <a:r>
              <a:rPr lang="en-US" dirty="0" err="1"/>
              <a:t>rectas</a:t>
            </a:r>
            <a:r>
              <a:rPr lang="en-US" dirty="0"/>
              <a:t> event, </a:t>
            </a:r>
            <a:r>
              <a:rPr lang="en-US" dirty="0" err="1"/>
              <a:t>conseni</a:t>
            </a:r>
            <a:r>
              <a:rPr lang="en-US" dirty="0"/>
              <a:t> </a:t>
            </a:r>
            <a:r>
              <a:rPr lang="en-US" dirty="0" err="1"/>
              <a:t>maximi</a:t>
            </a:r>
            <a:r>
              <a:rPr lang="en-US" dirty="0"/>
              <a:t>, quo </a:t>
            </a:r>
            <a:r>
              <a:rPr lang="en-US" dirty="0" err="1"/>
              <a:t>iur</a:t>
            </a:r>
            <a:r>
              <a:rPr lang="en-US" dirty="0"/>
              <a:t> </a:t>
            </a:r>
            <a:r>
              <a:rPr lang="en-US" dirty="0" err="1"/>
              <a:t>suntionse</a:t>
            </a:r>
            <a:r>
              <a:rPr lang="en-US" dirty="0"/>
              <a:t> </a:t>
            </a:r>
            <a:r>
              <a:rPr lang="en-US" dirty="0" err="1"/>
              <a:t>pos</a:t>
            </a:r>
            <a:r>
              <a:rPr lang="en-US" dirty="0"/>
              <a:t> estrum,</a:t>
            </a:r>
          </a:p>
          <a:p>
            <a:pPr lvl="0"/>
            <a:r>
              <a:rPr lang="en-US" dirty="0"/>
              <a:t>Bullet Tier 1: </a:t>
            </a:r>
            <a:r>
              <a:rPr lang="en-US" dirty="0" err="1"/>
              <a:t>Lorum</a:t>
            </a:r>
            <a:r>
              <a:rPr lang="en-US" dirty="0"/>
              <a:t> Ipsum </a:t>
            </a:r>
            <a:r>
              <a:rPr lang="en-US" dirty="0" err="1"/>
              <a:t>lluptatem</a:t>
            </a:r>
            <a:r>
              <a:rPr lang="en-US" dirty="0"/>
              <a:t> qui </a:t>
            </a:r>
            <a:r>
              <a:rPr lang="en-US" dirty="0" err="1"/>
              <a:t>rectas</a:t>
            </a:r>
            <a:r>
              <a:rPr lang="en-US" dirty="0"/>
              <a:t> event, </a:t>
            </a:r>
            <a:r>
              <a:rPr lang="en-US" dirty="0" err="1"/>
              <a:t>conseni</a:t>
            </a:r>
            <a:r>
              <a:rPr lang="en-US" dirty="0"/>
              <a:t> </a:t>
            </a:r>
            <a:r>
              <a:rPr lang="en-US" dirty="0" err="1"/>
              <a:t>maximi</a:t>
            </a:r>
            <a:r>
              <a:rPr lang="en-US" dirty="0"/>
              <a:t>, quo </a:t>
            </a:r>
            <a:r>
              <a:rPr lang="en-US" dirty="0" err="1"/>
              <a:t>iur</a:t>
            </a:r>
            <a:r>
              <a:rPr lang="en-US" dirty="0"/>
              <a:t> </a:t>
            </a:r>
            <a:r>
              <a:rPr lang="en-US" dirty="0" err="1"/>
              <a:t>suntionse</a:t>
            </a:r>
            <a:r>
              <a:rPr lang="en-US" dirty="0"/>
              <a:t> </a:t>
            </a:r>
            <a:r>
              <a:rPr lang="en-US" dirty="0" err="1"/>
              <a:t>pos</a:t>
            </a:r>
            <a:r>
              <a:rPr lang="en-US" dirty="0"/>
              <a:t> estrum,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4434" y="6375990"/>
            <a:ext cx="1060515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fld id="{23D96219-D258-4ACF-84F8-C94564AD461E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04949" y="6375990"/>
            <a:ext cx="46501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2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375990"/>
            <a:ext cx="571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2"/>
                </a:solidFill>
              </a:defRPr>
            </a:lvl1pPr>
          </a:lstStyle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08621" y="6042659"/>
            <a:ext cx="891540" cy="5691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644434" y="562519"/>
            <a:ext cx="7863840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1886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50" r:id="rId5"/>
    <p:sldLayoutId id="2147483673" r:id="rId6"/>
    <p:sldLayoutId id="2147483651" r:id="rId7"/>
    <p:sldLayoutId id="2147483664" r:id="rId8"/>
    <p:sldLayoutId id="2147483665" r:id="rId9"/>
    <p:sldLayoutId id="2147483671" r:id="rId10"/>
    <p:sldLayoutId id="2147483652" r:id="rId11"/>
    <p:sldLayoutId id="2147483653" r:id="rId12"/>
    <p:sldLayoutId id="2147483654" r:id="rId13"/>
    <p:sldLayoutId id="214748365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2" r:id="rId20"/>
    <p:sldLayoutId id="2147483674" r:id="rId21"/>
    <p:sldLayoutId id="2147483757" r:id="rId2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6538" indent="-236538" algn="l" defTabSz="685800" rtl="0" eaLnBrk="1" latinLnBrk="0" hangingPunct="1">
        <a:lnSpc>
          <a:spcPct val="90000"/>
        </a:lnSpc>
        <a:spcBef>
          <a:spcPts val="12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433388" indent="-204788" algn="l" defTabSz="685800" rtl="0" eaLnBrk="1" latinLnBrk="0" hangingPunct="1">
        <a:lnSpc>
          <a:spcPct val="90000"/>
        </a:lnSpc>
        <a:spcBef>
          <a:spcPts val="1200"/>
        </a:spcBef>
        <a:buClr>
          <a:schemeClr val="accent2"/>
        </a:buClr>
        <a:buFont typeface="Calibri" panose="020F0502020204030204" pitchFamily="34" charset="0"/>
        <a:buChar char="›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95313" indent="-171450" algn="l" defTabSz="685800" rtl="0" eaLnBrk="1" latinLnBrk="0" hangingPunct="1">
        <a:lnSpc>
          <a:spcPct val="90000"/>
        </a:lnSpc>
        <a:spcBef>
          <a:spcPts val="1200"/>
        </a:spcBef>
        <a:buClr>
          <a:schemeClr val="accent2"/>
        </a:buClr>
        <a:buFont typeface="Calibri" panose="020F0502020204030204" pitchFamily="34" charset="0"/>
        <a:buChar char="‒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3697" y="577850"/>
            <a:ext cx="8196606" cy="111283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/>
              <a:t>Project objectives 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3699" y="1905004"/>
            <a:ext cx="5641353" cy="427196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Bullet Tier 1: </a:t>
            </a:r>
            <a:r>
              <a:rPr lang="en-US" err="1"/>
              <a:t>Lorum</a:t>
            </a:r>
            <a:r>
              <a:rPr lang="en-US"/>
              <a:t> Ipsum </a:t>
            </a:r>
            <a:r>
              <a:rPr lang="en-US" err="1"/>
              <a:t>lluptatem</a:t>
            </a:r>
            <a:r>
              <a:rPr lang="en-US"/>
              <a:t> qui </a:t>
            </a:r>
            <a:r>
              <a:rPr lang="en-US" err="1"/>
              <a:t>rectas</a:t>
            </a:r>
            <a:r>
              <a:rPr lang="en-US"/>
              <a:t> event, </a:t>
            </a:r>
            <a:r>
              <a:rPr lang="en-US" err="1"/>
              <a:t>conseni</a:t>
            </a:r>
            <a:r>
              <a:rPr lang="en-US"/>
              <a:t> </a:t>
            </a:r>
            <a:r>
              <a:rPr lang="en-US" err="1"/>
              <a:t>maximi</a:t>
            </a:r>
            <a:r>
              <a:rPr lang="en-US"/>
              <a:t>, quo </a:t>
            </a:r>
            <a:r>
              <a:rPr lang="en-US" err="1"/>
              <a:t>iur</a:t>
            </a:r>
            <a:r>
              <a:rPr lang="en-US"/>
              <a:t> </a:t>
            </a:r>
            <a:r>
              <a:rPr lang="en-US" err="1"/>
              <a:t>suntionse</a:t>
            </a:r>
            <a:r>
              <a:rPr lang="en-US"/>
              <a:t> </a:t>
            </a:r>
            <a:r>
              <a:rPr lang="en-US" err="1"/>
              <a:t>pos</a:t>
            </a:r>
            <a:r>
              <a:rPr lang="en-US"/>
              <a:t> estrum,</a:t>
            </a:r>
          </a:p>
          <a:p>
            <a:pPr lvl="0"/>
            <a:r>
              <a:rPr lang="en-US"/>
              <a:t>Bullet Tier 1: </a:t>
            </a:r>
            <a:r>
              <a:rPr lang="en-US" err="1"/>
              <a:t>Lorum</a:t>
            </a:r>
            <a:r>
              <a:rPr lang="en-US"/>
              <a:t> Ipsum </a:t>
            </a:r>
            <a:r>
              <a:rPr lang="en-US" err="1"/>
              <a:t>lluptatem</a:t>
            </a:r>
            <a:r>
              <a:rPr lang="en-US"/>
              <a:t> qui </a:t>
            </a:r>
            <a:r>
              <a:rPr lang="en-US" err="1"/>
              <a:t>rectas</a:t>
            </a:r>
            <a:r>
              <a:rPr lang="en-US"/>
              <a:t> event, </a:t>
            </a:r>
            <a:r>
              <a:rPr lang="en-US" err="1"/>
              <a:t>conseni</a:t>
            </a:r>
            <a:r>
              <a:rPr lang="en-US"/>
              <a:t> </a:t>
            </a:r>
            <a:r>
              <a:rPr lang="en-US" err="1"/>
              <a:t>maximi</a:t>
            </a:r>
            <a:r>
              <a:rPr lang="en-US"/>
              <a:t>, quo </a:t>
            </a:r>
            <a:r>
              <a:rPr lang="en-US" err="1"/>
              <a:t>iur</a:t>
            </a:r>
            <a:r>
              <a:rPr lang="en-US"/>
              <a:t> </a:t>
            </a:r>
            <a:r>
              <a:rPr lang="en-US" err="1"/>
              <a:t>suntionse</a:t>
            </a:r>
            <a:r>
              <a:rPr lang="en-US"/>
              <a:t> </a:t>
            </a:r>
            <a:r>
              <a:rPr lang="en-US" err="1"/>
              <a:t>pos</a:t>
            </a:r>
            <a:r>
              <a:rPr lang="en-US"/>
              <a:t> estrum,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3699" y="6299796"/>
            <a:ext cx="1060515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A2173C-AB4D-42F9-BD69-AB78A220CEAD}" type="datetime1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27/09/2019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4212" y="6299796"/>
            <a:ext cx="577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" y="6299796"/>
            <a:ext cx="4736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D7C2A8-3574-48AF-9B9F-6538CE887783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26CAD3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26CAD3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8107" y="5993607"/>
            <a:ext cx="703730" cy="6182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473697" y="466725"/>
            <a:ext cx="8196606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9577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56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  <p:sldLayoutId id="2147483742" r:id="rId23"/>
    <p:sldLayoutId id="2147483743" r:id="rId24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75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900"/>
        </a:spcBef>
        <a:buClr>
          <a:schemeClr val="accent2"/>
        </a:buClr>
        <a:buFont typeface="Arial" panose="020B0604020202020204" pitchFamily="34" charset="0"/>
        <a:buChar char="•"/>
        <a:defRPr sz="1425" kern="1200">
          <a:solidFill>
            <a:schemeClr val="tx2"/>
          </a:solidFill>
          <a:latin typeface="+mn-lt"/>
          <a:ea typeface="+mn-ea"/>
          <a:cs typeface="+mn-cs"/>
        </a:defRPr>
      </a:lvl1pPr>
      <a:lvl2pPr marL="332177" indent="-148826" algn="l" defTabSz="685783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Calibri" panose="020F0502020204030204" pitchFamily="34" charset="0"/>
        <a:buChar char="›"/>
        <a:defRPr sz="1351" kern="1200">
          <a:solidFill>
            <a:schemeClr val="tx2"/>
          </a:solidFill>
          <a:latin typeface="+mn-lt"/>
          <a:ea typeface="+mn-ea"/>
          <a:cs typeface="+mn-cs"/>
        </a:defRPr>
      </a:lvl2pPr>
      <a:lvl3pPr marL="497669" indent="-159540" algn="l" defTabSz="685783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Calibri" panose="020F0502020204030204" pitchFamily="34" charset="0"/>
        <a:buChar char="»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1" kern="1200">
          <a:solidFill>
            <a:schemeClr val="tx2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1" kern="1200">
          <a:solidFill>
            <a:schemeClr val="tx2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96480A-2248-44BF-8C99-FA0FC1114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6C1ECA-6020-4768-92FD-3B9C71FCDA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B5E980-37BA-4424-8F53-FF10F53D67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E4258A-350A-4F5D-BE04-7E9D36D8EB59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7DD34-80EC-4847-9D1D-6F2E4FF2D1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CD078C-3C09-4750-A4A2-F7A3D12F9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943FD0-5DEE-4B46-B23E-C7F639EE44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2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58C97A1-507B-4FDB-B201-EF050C0F5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86EE87-5D57-4B5F-9587-5A8E496F05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E11854-3102-4C2A-87C3-F463DB3FFA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F737D1-7251-42BF-9BE7-DB987E03B978}" type="datetime1">
              <a:rPr lang="en-IE" smtClean="0"/>
              <a:t>27/09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5275B3-4FC5-403A-8F2A-EDB44CAF99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B2B9B2-2291-45EF-B23C-854020635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05E737-E51C-41AA-A18F-962F76DAB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660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9160" y="630101"/>
            <a:ext cx="7869114" cy="4984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I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9160" y="2029097"/>
            <a:ext cx="5415955" cy="393886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 dirty="0"/>
              <a:t>Bullet Tier 1: </a:t>
            </a:r>
            <a:r>
              <a:rPr lang="en-US" dirty="0" err="1"/>
              <a:t>Lorum</a:t>
            </a:r>
            <a:r>
              <a:rPr lang="en-US" dirty="0"/>
              <a:t> Ipsum </a:t>
            </a:r>
            <a:r>
              <a:rPr lang="en-US" dirty="0" err="1"/>
              <a:t>lluptatem</a:t>
            </a:r>
            <a:r>
              <a:rPr lang="en-US" dirty="0"/>
              <a:t> qui </a:t>
            </a:r>
            <a:r>
              <a:rPr lang="en-US" dirty="0" err="1"/>
              <a:t>rectas</a:t>
            </a:r>
            <a:r>
              <a:rPr lang="en-US" dirty="0"/>
              <a:t> event, </a:t>
            </a:r>
            <a:r>
              <a:rPr lang="en-US" dirty="0" err="1"/>
              <a:t>conseni</a:t>
            </a:r>
            <a:r>
              <a:rPr lang="en-US" dirty="0"/>
              <a:t> </a:t>
            </a:r>
            <a:r>
              <a:rPr lang="en-US" dirty="0" err="1"/>
              <a:t>maximi</a:t>
            </a:r>
            <a:r>
              <a:rPr lang="en-US" dirty="0"/>
              <a:t>, quo </a:t>
            </a:r>
            <a:r>
              <a:rPr lang="en-US" dirty="0" err="1"/>
              <a:t>iur</a:t>
            </a:r>
            <a:r>
              <a:rPr lang="en-US" dirty="0"/>
              <a:t> </a:t>
            </a:r>
            <a:r>
              <a:rPr lang="en-US" dirty="0" err="1"/>
              <a:t>suntionse</a:t>
            </a:r>
            <a:r>
              <a:rPr lang="en-US" dirty="0"/>
              <a:t> </a:t>
            </a:r>
            <a:r>
              <a:rPr lang="en-US" dirty="0" err="1"/>
              <a:t>pos</a:t>
            </a:r>
            <a:r>
              <a:rPr lang="en-US" dirty="0"/>
              <a:t> estrum,</a:t>
            </a:r>
          </a:p>
          <a:p>
            <a:pPr lvl="0"/>
            <a:r>
              <a:rPr lang="en-US" dirty="0"/>
              <a:t>Bullet Tier 1: </a:t>
            </a:r>
            <a:r>
              <a:rPr lang="en-US" dirty="0" err="1"/>
              <a:t>Lorum</a:t>
            </a:r>
            <a:r>
              <a:rPr lang="en-US" dirty="0"/>
              <a:t> Ipsum </a:t>
            </a:r>
            <a:r>
              <a:rPr lang="en-US" dirty="0" err="1"/>
              <a:t>lluptatem</a:t>
            </a:r>
            <a:r>
              <a:rPr lang="en-US" dirty="0"/>
              <a:t> qui </a:t>
            </a:r>
            <a:r>
              <a:rPr lang="en-US" dirty="0" err="1"/>
              <a:t>rectas</a:t>
            </a:r>
            <a:r>
              <a:rPr lang="en-US" dirty="0"/>
              <a:t> event, </a:t>
            </a:r>
            <a:r>
              <a:rPr lang="en-US" dirty="0" err="1"/>
              <a:t>conseni</a:t>
            </a:r>
            <a:r>
              <a:rPr lang="en-US" dirty="0"/>
              <a:t> </a:t>
            </a:r>
            <a:r>
              <a:rPr lang="en-US" dirty="0" err="1"/>
              <a:t>maximi</a:t>
            </a:r>
            <a:r>
              <a:rPr lang="en-US" dirty="0"/>
              <a:t>, quo </a:t>
            </a:r>
            <a:r>
              <a:rPr lang="en-US" dirty="0" err="1"/>
              <a:t>iur</a:t>
            </a:r>
            <a:r>
              <a:rPr lang="en-US" dirty="0"/>
              <a:t> </a:t>
            </a:r>
            <a:r>
              <a:rPr lang="en-US" dirty="0" err="1"/>
              <a:t>suntionse</a:t>
            </a:r>
            <a:r>
              <a:rPr lang="en-US" dirty="0"/>
              <a:t> </a:t>
            </a:r>
            <a:r>
              <a:rPr lang="en-US" dirty="0" err="1"/>
              <a:t>pos</a:t>
            </a:r>
            <a:r>
              <a:rPr lang="en-US" dirty="0"/>
              <a:t> estrum,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9160" y="6378167"/>
            <a:ext cx="895052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fld id="{9FBE57FB-AC33-4685-80F3-F53B723F9315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4212" y="6378167"/>
            <a:ext cx="577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2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378167"/>
            <a:ext cx="5476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2"/>
                </a:solidFill>
              </a:defRPr>
            </a:lvl1pPr>
          </a:lstStyle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39160" y="562520"/>
            <a:ext cx="7869114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08621" y="6042659"/>
            <a:ext cx="891540" cy="5691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1211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707" r:id="rId3"/>
    <p:sldLayoutId id="2147483699" r:id="rId4"/>
    <p:sldLayoutId id="2147483700" r:id="rId5"/>
    <p:sldLayoutId id="2147483701" r:id="rId6"/>
    <p:sldLayoutId id="2147483706" r:id="rId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3363" indent="-233363" algn="l" defTabSz="685800" rtl="0" eaLnBrk="1" latinLnBrk="0" hangingPunct="1">
        <a:lnSpc>
          <a:spcPct val="90000"/>
        </a:lnSpc>
        <a:spcBef>
          <a:spcPts val="9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428625" indent="-192088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Calibri" panose="020F0502020204030204" pitchFamily="34" charset="0"/>
        <a:buChar char="›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603250" indent="-195263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Calibri" panose="020F0502020204030204" pitchFamily="34" charset="0"/>
        <a:buChar char="‒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/>
          <p:cNvGrpSpPr>
            <a:grpSpLocks noChangeAspect="1"/>
          </p:cNvGrpSpPr>
          <p:nvPr userDrawn="1"/>
        </p:nvGrpSpPr>
        <p:grpSpPr bwMode="auto">
          <a:xfrm>
            <a:off x="7585166" y="0"/>
            <a:ext cx="1558834" cy="3787669"/>
            <a:chOff x="2304" y="757"/>
            <a:chExt cx="1154" cy="2804"/>
          </a:xfrm>
          <a:solidFill>
            <a:schemeClr val="accent2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2304" y="757"/>
              <a:ext cx="1154" cy="474"/>
            </a:xfrm>
            <a:custGeom>
              <a:avLst/>
              <a:gdLst>
                <a:gd name="T0" fmla="*/ 166 w 485"/>
                <a:gd name="T1" fmla="*/ 142 h 200"/>
                <a:gd name="T2" fmla="*/ 485 w 485"/>
                <a:gd name="T3" fmla="*/ 176 h 200"/>
                <a:gd name="T4" fmla="*/ 485 w 485"/>
                <a:gd name="T5" fmla="*/ 0 h 200"/>
                <a:gd name="T6" fmla="*/ 0 w 485"/>
                <a:gd name="T7" fmla="*/ 0 h 200"/>
                <a:gd name="T8" fmla="*/ 166 w 485"/>
                <a:gd name="T9" fmla="*/ 14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5" h="200">
                  <a:moveTo>
                    <a:pt x="166" y="142"/>
                  </a:moveTo>
                  <a:cubicBezTo>
                    <a:pt x="266" y="188"/>
                    <a:pt x="372" y="200"/>
                    <a:pt x="485" y="176"/>
                  </a:cubicBezTo>
                  <a:cubicBezTo>
                    <a:pt x="485" y="0"/>
                    <a:pt x="485" y="0"/>
                    <a:pt x="4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" y="62"/>
                    <a:pt x="98" y="110"/>
                    <a:pt x="166" y="1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675" y="1565"/>
              <a:ext cx="783" cy="1996"/>
            </a:xfrm>
            <a:custGeom>
              <a:avLst/>
              <a:gdLst>
                <a:gd name="T0" fmla="*/ 329 w 329"/>
                <a:gd name="T1" fmla="*/ 0 h 843"/>
                <a:gd name="T2" fmla="*/ 65 w 329"/>
                <a:gd name="T3" fmla="*/ 541 h 843"/>
                <a:gd name="T4" fmla="*/ 329 w 329"/>
                <a:gd name="T5" fmla="*/ 843 h 843"/>
                <a:gd name="T6" fmla="*/ 329 w 329"/>
                <a:gd name="T7" fmla="*/ 0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9" h="843">
                  <a:moveTo>
                    <a:pt x="329" y="0"/>
                  </a:moveTo>
                  <a:cubicBezTo>
                    <a:pt x="118" y="96"/>
                    <a:pt x="0" y="318"/>
                    <a:pt x="65" y="541"/>
                  </a:cubicBezTo>
                  <a:cubicBezTo>
                    <a:pt x="105" y="679"/>
                    <a:pt x="196" y="791"/>
                    <a:pt x="329" y="843"/>
                  </a:cubicBezTo>
                  <a:lnTo>
                    <a:pt x="3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dirty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6577" y="673644"/>
            <a:ext cx="6083857" cy="41781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dirty="0"/>
              <a:t>Project objectives Click to edit Master title style</a:t>
            </a:r>
            <a:endParaRPr lang="en-I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6577" y="1672046"/>
            <a:ext cx="5020789" cy="429591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 dirty="0"/>
              <a:t>Bullet Tier 1: </a:t>
            </a:r>
            <a:r>
              <a:rPr lang="en-US" dirty="0" err="1"/>
              <a:t>Lorum</a:t>
            </a:r>
            <a:r>
              <a:rPr lang="en-US" dirty="0"/>
              <a:t> Ipsum </a:t>
            </a:r>
            <a:r>
              <a:rPr lang="en-US" dirty="0" err="1"/>
              <a:t>lluptatem</a:t>
            </a:r>
            <a:r>
              <a:rPr lang="en-US" dirty="0"/>
              <a:t> qui </a:t>
            </a:r>
            <a:r>
              <a:rPr lang="en-US" dirty="0" err="1"/>
              <a:t>rectas</a:t>
            </a:r>
            <a:r>
              <a:rPr lang="en-US" dirty="0"/>
              <a:t> event, </a:t>
            </a:r>
            <a:r>
              <a:rPr lang="en-US" dirty="0" err="1"/>
              <a:t>conseni</a:t>
            </a:r>
            <a:r>
              <a:rPr lang="en-US" dirty="0"/>
              <a:t> </a:t>
            </a:r>
            <a:r>
              <a:rPr lang="en-US" dirty="0" err="1"/>
              <a:t>maximi</a:t>
            </a:r>
            <a:r>
              <a:rPr lang="en-US" dirty="0"/>
              <a:t>, quo </a:t>
            </a:r>
            <a:r>
              <a:rPr lang="en-US" dirty="0" err="1"/>
              <a:t>iur</a:t>
            </a:r>
            <a:r>
              <a:rPr lang="en-US" dirty="0"/>
              <a:t> </a:t>
            </a:r>
            <a:r>
              <a:rPr lang="en-US" dirty="0" err="1"/>
              <a:t>suntionse</a:t>
            </a:r>
            <a:r>
              <a:rPr lang="en-US" dirty="0"/>
              <a:t> </a:t>
            </a:r>
            <a:r>
              <a:rPr lang="en-US" dirty="0" err="1"/>
              <a:t>pos</a:t>
            </a:r>
            <a:r>
              <a:rPr lang="en-US" dirty="0"/>
              <a:t> estrum,</a:t>
            </a:r>
          </a:p>
          <a:p>
            <a:pPr lvl="0"/>
            <a:r>
              <a:rPr lang="en-US" dirty="0"/>
              <a:t>Bullet Tier 1: </a:t>
            </a:r>
            <a:r>
              <a:rPr lang="en-US" dirty="0" err="1"/>
              <a:t>Lorum</a:t>
            </a:r>
            <a:r>
              <a:rPr lang="en-US" dirty="0"/>
              <a:t> Ipsum </a:t>
            </a:r>
            <a:r>
              <a:rPr lang="en-US" dirty="0" err="1"/>
              <a:t>lluptatem</a:t>
            </a:r>
            <a:r>
              <a:rPr lang="en-US" dirty="0"/>
              <a:t> qui </a:t>
            </a:r>
            <a:r>
              <a:rPr lang="en-US" dirty="0" err="1"/>
              <a:t>rectas</a:t>
            </a:r>
            <a:r>
              <a:rPr lang="en-US" dirty="0"/>
              <a:t> event, </a:t>
            </a:r>
            <a:r>
              <a:rPr lang="en-US" dirty="0" err="1"/>
              <a:t>conseni</a:t>
            </a:r>
            <a:r>
              <a:rPr lang="en-US" dirty="0"/>
              <a:t> </a:t>
            </a:r>
            <a:r>
              <a:rPr lang="en-US" dirty="0" err="1"/>
              <a:t>maximi</a:t>
            </a:r>
            <a:r>
              <a:rPr lang="en-US" dirty="0"/>
              <a:t>, quo </a:t>
            </a:r>
            <a:r>
              <a:rPr lang="en-US" dirty="0" err="1"/>
              <a:t>iur</a:t>
            </a:r>
            <a:r>
              <a:rPr lang="en-US" dirty="0"/>
              <a:t> </a:t>
            </a:r>
            <a:r>
              <a:rPr lang="en-US" dirty="0" err="1"/>
              <a:t>suntionse</a:t>
            </a:r>
            <a:r>
              <a:rPr lang="en-US" dirty="0"/>
              <a:t> </a:t>
            </a:r>
            <a:r>
              <a:rPr lang="en-US" dirty="0" err="1"/>
              <a:t>pos</a:t>
            </a:r>
            <a:r>
              <a:rPr lang="en-US" dirty="0"/>
              <a:t> estrum,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6577" y="6368370"/>
            <a:ext cx="877635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fld id="{5D86874E-D5FB-4F75-977D-56BF1F39A652}" type="datetime1">
              <a:rPr lang="en-IE" smtClean="0"/>
              <a:t>27/09/2019</a:t>
            </a:fld>
            <a:endParaRPr lang="en-I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4212" y="6368370"/>
            <a:ext cx="577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2"/>
                </a:solidFill>
              </a:defRPr>
            </a:lvl1pPr>
          </a:lstStyle>
          <a:p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368370"/>
            <a:ext cx="571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2"/>
                </a:solidFill>
              </a:defRPr>
            </a:lvl1pPr>
          </a:lstStyle>
          <a:p>
            <a:fld id="{66D7C2A8-3574-48AF-9B9F-6538CE887783}" type="slidenum">
              <a:rPr lang="en-IE" smtClean="0"/>
              <a:pPr/>
              <a:t>‹#›</a:t>
            </a:fld>
            <a:endParaRPr lang="en-I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56577" y="562519"/>
            <a:ext cx="6083857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2" t="16649" r="11982" b="16649"/>
          <a:stretch/>
        </p:blipFill>
        <p:spPr>
          <a:xfrm>
            <a:off x="8008621" y="6042659"/>
            <a:ext cx="891540" cy="5691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78338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7" r:id="rId3"/>
    <p:sldLayoutId id="2147483688" r:id="rId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75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685800" rtl="0" eaLnBrk="1" latinLnBrk="0" hangingPunct="1">
        <a:lnSpc>
          <a:spcPct val="90000"/>
        </a:lnSpc>
        <a:spcBef>
          <a:spcPts val="12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414338" indent="-196850" algn="l" defTabSz="685800" rtl="0" eaLnBrk="1" latinLnBrk="0" hangingPunct="1">
        <a:lnSpc>
          <a:spcPct val="90000"/>
        </a:lnSpc>
        <a:spcBef>
          <a:spcPts val="1200"/>
        </a:spcBef>
        <a:buClr>
          <a:schemeClr val="accent2"/>
        </a:buClr>
        <a:buFont typeface="Calibri" panose="020F0502020204030204" pitchFamily="34" charset="0"/>
        <a:buChar char="›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90550" indent="-196850" algn="l" defTabSz="685800" rtl="0" eaLnBrk="1" latinLnBrk="0" hangingPunct="1">
        <a:lnSpc>
          <a:spcPct val="90000"/>
        </a:lnSpc>
        <a:spcBef>
          <a:spcPts val="1200"/>
        </a:spcBef>
        <a:buClr>
          <a:schemeClr val="accent2"/>
        </a:buClr>
        <a:buFont typeface="Calibri" panose="020F0502020204030204" pitchFamily="34" charset="0"/>
        <a:buChar char="‒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6.jp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doi.org/10.1016/S2214-109X(19)30036-1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5267" y="974439"/>
            <a:ext cx="5278842" cy="2316162"/>
          </a:xfrm>
        </p:spPr>
        <p:txBody>
          <a:bodyPr/>
          <a:lstStyle/>
          <a:p>
            <a:r>
              <a:rPr lang="en-US" sz="3600" dirty="0" smtClean="0"/>
              <a:t>Jhpiego Safe Surgery:</a:t>
            </a:r>
            <a:br>
              <a:rPr lang="en-US" sz="3600" dirty="0" smtClean="0"/>
            </a:br>
            <a:r>
              <a:rPr lang="en-US" sz="3600" dirty="0" smtClean="0"/>
              <a:t>The challenge of proper post-operative care and monitoring in low-resource setting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5267" y="3361222"/>
            <a:ext cx="3798266" cy="385763"/>
          </a:xfrm>
        </p:spPr>
        <p:txBody>
          <a:bodyPr/>
          <a:lstStyle/>
          <a:p>
            <a:r>
              <a:rPr lang="en-US" dirty="0" smtClean="0"/>
              <a:t>John E. Varallo, MD, MPH, FACOG</a:t>
            </a:r>
          </a:p>
          <a:p>
            <a:r>
              <a:rPr lang="en-US" dirty="0" smtClean="0"/>
              <a:t>Global Director Safe Surgery - Jhpiego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35439" y="4428555"/>
            <a:ext cx="3798094" cy="1228725"/>
          </a:xfrm>
        </p:spPr>
        <p:txBody>
          <a:bodyPr/>
          <a:lstStyle/>
          <a:p>
            <a:r>
              <a:rPr lang="en-US" sz="2400" dirty="0" smtClean="0"/>
              <a:t>Med Hack 2019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60231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33D818-72AD-4085-90E3-723BE12DD1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E5AA70D9-7EA3-4AB7-BF62-D5D4278B4BC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18" t="25598" b="34029"/>
          <a:stretch/>
        </p:blipFill>
        <p:spPr>
          <a:xfrm>
            <a:off x="0" y="857250"/>
            <a:ext cx="9144000" cy="2612231"/>
          </a:xfrm>
          <a:prstGeom prst="rect">
            <a:avLst/>
          </a:prstGeom>
        </p:spPr>
      </p:pic>
      <p:sp>
        <p:nvSpPr>
          <p:cNvPr id="11" name="Slide Number Placeholder 6"/>
          <p:cNvSpPr txBox="1">
            <a:spLocks/>
          </p:cNvSpPr>
          <p:nvPr/>
        </p:nvSpPr>
        <p:spPr>
          <a:xfrm>
            <a:off x="8886825" y="5762626"/>
            <a:ext cx="257175" cy="14525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GE Inspira Pitch"/>
                <a:ea typeface="+mn-ea"/>
                <a:cs typeface="GE Inspira Pitch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GE Inspira Pitch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GE Inspira Pitch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GE Inspira Pitch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GE Inspira Pitch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GE Inspira Pitch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GE Inspira Pitch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GE Inspira Pitch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GE Inspira Pitch" charset="0"/>
                <a:ea typeface="+mn-ea"/>
                <a:cs typeface="+mn-cs"/>
              </a:defRPr>
            </a:lvl9pPr>
          </a:lstStyle>
          <a:p>
            <a:fld id="{CF2BB781-E09B-B046-ACAB-A454FFD7BAFF}" type="slidenum">
              <a:rPr lang="en-US" sz="675"/>
              <a:pPr/>
              <a:t>2</a:t>
            </a:fld>
            <a:endParaRPr lang="en-US" sz="675" dirty="0"/>
          </a:p>
        </p:txBody>
      </p:sp>
      <p:sp>
        <p:nvSpPr>
          <p:cNvPr id="13" name="Rectangle 12"/>
          <p:cNvSpPr/>
          <p:nvPr/>
        </p:nvSpPr>
        <p:spPr>
          <a:xfrm>
            <a:off x="4350327" y="2744968"/>
            <a:ext cx="4793673" cy="724513"/>
          </a:xfrm>
          <a:prstGeom prst="rect">
            <a:avLst/>
          </a:prstGeom>
          <a:solidFill>
            <a:srgbClr val="08A59F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9" name="TextBox 8"/>
          <p:cNvSpPr txBox="1"/>
          <p:nvPr/>
        </p:nvSpPr>
        <p:spPr>
          <a:xfrm>
            <a:off x="4475018" y="2798635"/>
            <a:ext cx="4540394" cy="6171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2800" b="1" dirty="0">
                <a:solidFill>
                  <a:schemeClr val="bg1"/>
                </a:solidFill>
                <a:latin typeface="Lato" panose="020B0604020202020204" charset="0"/>
                <a:ea typeface="MS PGothic" panose="020B0600070205080204" pitchFamily="34" charset="-128"/>
                <a:cs typeface="GE Inspira Pitch"/>
              </a:rPr>
              <a:t>    </a:t>
            </a:r>
            <a:r>
              <a:rPr lang="en-US" sz="2800" b="1" dirty="0">
                <a:solidFill>
                  <a:schemeClr val="bg1"/>
                </a:solidFill>
                <a:ea typeface="MS PGothic" panose="020B0600070205080204" pitchFamily="34" charset="-128"/>
                <a:cs typeface="GE Inspira Pitch"/>
              </a:rPr>
              <a:t>Why </a:t>
            </a:r>
            <a:r>
              <a:rPr lang="en-US" sz="2800" b="1" dirty="0" smtClean="0">
                <a:solidFill>
                  <a:schemeClr val="bg1"/>
                </a:solidFill>
                <a:ea typeface="MS PGothic" panose="020B0600070205080204" pitchFamily="34" charset="-128"/>
                <a:cs typeface="GE Inspira Pitch"/>
              </a:rPr>
              <a:t>post-operative care? </a:t>
            </a:r>
            <a:endParaRPr lang="en-US" sz="2800" dirty="0">
              <a:solidFill>
                <a:schemeClr val="bg1"/>
              </a:solidFill>
              <a:cs typeface="GE Inspira Pitch"/>
            </a:endParaRPr>
          </a:p>
        </p:txBody>
      </p:sp>
      <p:pic>
        <p:nvPicPr>
          <p:cNvPr id="12" name="Picture 2" descr="image00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41" y="3735167"/>
            <a:ext cx="4081134" cy="247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75663" y="3523148"/>
            <a:ext cx="3939104" cy="3001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664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873" y="174464"/>
            <a:ext cx="7855132" cy="529454"/>
          </a:xfrm>
        </p:spPr>
        <p:txBody>
          <a:bodyPr/>
          <a:lstStyle/>
          <a:p>
            <a:r>
              <a:rPr lang="en-US" dirty="0" smtClean="0"/>
              <a:t>Gap in Quality Post-operative Care and Monitor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/>
              <a:t>3</a:t>
            </a:fld>
            <a:endParaRPr lang="en-IE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97528" y="837217"/>
            <a:ext cx="4776155" cy="4053438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P</a:t>
            </a:r>
            <a:r>
              <a:rPr lang="en-US" sz="2400" dirty="0" smtClean="0"/>
              <a:t>atients </a:t>
            </a:r>
            <a:r>
              <a:rPr lang="en-US" sz="2400" dirty="0"/>
              <a:t>in low-income and middle-income countries (LMICs) </a:t>
            </a:r>
            <a:r>
              <a:rPr lang="en-US" sz="2400" dirty="0" smtClean="0"/>
              <a:t>are </a:t>
            </a:r>
            <a:r>
              <a:rPr lang="en-US" sz="2400" dirty="0"/>
              <a:t>at a much higher risk of dying following surgery than their counterparts in richer </a:t>
            </a:r>
            <a:r>
              <a:rPr lang="en-US" sz="2400" dirty="0" smtClean="0"/>
              <a:t>countries</a:t>
            </a:r>
            <a:r>
              <a:rPr lang="en-US" sz="2400" baseline="30000" dirty="0" smtClean="0"/>
              <a:t>1</a:t>
            </a:r>
            <a:endParaRPr lang="en-US" sz="2400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 smtClean="0"/>
              <a:t>African </a:t>
            </a:r>
            <a:r>
              <a:rPr lang="en-US" sz="2400" dirty="0"/>
              <a:t>mothers are 50x more likely to die after cesarean delivery than those in high-income </a:t>
            </a:r>
            <a:r>
              <a:rPr lang="en-US" sz="2400" dirty="0" smtClean="0"/>
              <a:t>countries</a:t>
            </a:r>
            <a:r>
              <a:rPr lang="en-US" sz="2400" baseline="30000" dirty="0" smtClean="0"/>
              <a:t>2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u="sng" dirty="0" smtClean="0"/>
              <a:t>Reasons</a:t>
            </a:r>
            <a:r>
              <a:rPr lang="en-US" sz="2400" dirty="0" smtClean="0"/>
              <a:t>: not detecting deteriorating conditions or acting in timely manner</a:t>
            </a:r>
            <a:endParaRPr lang="en-US" sz="2400" dirty="0"/>
          </a:p>
        </p:txBody>
      </p:sp>
      <p:pic>
        <p:nvPicPr>
          <p:cNvPr id="9" name="Content Placeholder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8166" y="1153342"/>
            <a:ext cx="3300839" cy="266054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DED747A-F5E4-9343-8C0A-9DB79095102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7794" y="3924503"/>
            <a:ext cx="3621581" cy="2363079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191639" y="5106042"/>
            <a:ext cx="4682044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aseline="30000" dirty="0" smtClean="0"/>
              <a:t>1</a:t>
            </a:r>
            <a:r>
              <a:rPr lang="en-US" sz="1050" dirty="0" smtClean="0"/>
              <a:t>Biccard </a:t>
            </a:r>
            <a:r>
              <a:rPr lang="en-US" sz="1050" dirty="0"/>
              <a:t>BM, Madiba TE, </a:t>
            </a:r>
            <a:r>
              <a:rPr lang="en-US" sz="1050" i="1" dirty="0"/>
              <a:t>et al. </a:t>
            </a:r>
            <a:r>
              <a:rPr lang="en-US" sz="1050" dirty="0"/>
              <a:t>Perioperative patient outcomes in the African </a:t>
            </a:r>
            <a:r>
              <a:rPr lang="en-US" sz="1050" dirty="0" smtClean="0"/>
              <a:t>Surgical Outcomes </a:t>
            </a:r>
            <a:r>
              <a:rPr lang="en-US" sz="1050" dirty="0"/>
              <a:t>Study: a 7-day prospective observational cohort. </a:t>
            </a:r>
            <a:r>
              <a:rPr lang="en-US" sz="1050" i="1" dirty="0"/>
              <a:t>Lancet </a:t>
            </a:r>
            <a:r>
              <a:rPr lang="en-US" sz="1050" dirty="0"/>
              <a:t>2018; 391(10130):1589-1598</a:t>
            </a:r>
          </a:p>
          <a:p>
            <a:r>
              <a:rPr lang="en-US" sz="1050" baseline="30000" dirty="0" smtClean="0"/>
              <a:t>2</a:t>
            </a:r>
            <a:r>
              <a:rPr lang="en-US" sz="1050" dirty="0" smtClean="0"/>
              <a:t>Bishop </a:t>
            </a:r>
            <a:r>
              <a:rPr lang="en-US" sz="1050" dirty="0"/>
              <a:t>D, Dyer RA, Maswime S, et al. Maternal and neonatal outcomes after cesarean delivery in the African Surgical Outcomes Study: a 7-day prospective observational cohort study. </a:t>
            </a:r>
            <a:r>
              <a:rPr lang="en-US" sz="1050" i="1" dirty="0"/>
              <a:t>The Lancet</a:t>
            </a:r>
            <a:r>
              <a:rPr lang="en-US" sz="1050" dirty="0"/>
              <a:t>. 2019; 7: 513-522. doi: </a:t>
            </a:r>
            <a:r>
              <a:rPr lang="en-US" sz="1050" u="sng" dirty="0" smtClean="0">
                <a:hlinkClick r:id="rId4"/>
              </a:rPr>
              <a:t>10.1016/S2214-109X(19)30036-1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38790007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434" y="31460"/>
            <a:ext cx="8138958" cy="663999"/>
          </a:xfrm>
        </p:spPr>
        <p:txBody>
          <a:bodyPr/>
          <a:lstStyle/>
          <a:p>
            <a:r>
              <a:rPr lang="en-US" sz="3200" dirty="0" smtClean="0"/>
              <a:t>Post-operative </a:t>
            </a:r>
            <a:r>
              <a:rPr lang="en-US" sz="3200" dirty="0" smtClean="0"/>
              <a:t>Care and Monitoring Challenge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875763"/>
            <a:ext cx="4549486" cy="4504917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Human resource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Equipment and supplies</a:t>
            </a:r>
            <a:endParaRPr lang="en-US" sz="28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Monitoring/taking </a:t>
            </a: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and recording of vital sign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Decision suppor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Early warning scoring system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Risk stratification/treatment </a:t>
            </a: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algorithms</a:t>
            </a:r>
            <a:endParaRPr lang="en-US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>
                <a:solidFill>
                  <a:srgbClr val="26CAD3"/>
                </a:solidFill>
              </a:rPr>
              <a:pPr/>
              <a:t>4</a:t>
            </a:fld>
            <a:endParaRPr lang="en-IE" dirty="0">
              <a:solidFill>
                <a:srgbClr val="26CAD3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765" y="623888"/>
            <a:ext cx="2910627" cy="3871274"/>
          </a:xfrm>
          <a:prstGeom prst="rect">
            <a:avLst/>
          </a:prstGeom>
        </p:spPr>
      </p:pic>
      <p:pic>
        <p:nvPicPr>
          <p:cNvPr id="6" name="Picture 2" descr="C:\Users\jsmith\Documents\1 JMS 2010 MCHIP\2 Jhpiego General\Presentations\Photos\14212691458_2824d381c1_o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317"/>
          <a:stretch/>
        </p:blipFill>
        <p:spPr bwMode="auto">
          <a:xfrm>
            <a:off x="5025334" y="4549393"/>
            <a:ext cx="3898213" cy="2191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3891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08" r="22508"/>
          <a:stretch>
            <a:fillRect/>
          </a:stretch>
        </p:blipFill>
        <p:spPr/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D7C2A8-3574-48AF-9B9F-6538CE887783}" type="slidenum">
              <a:rPr lang="en-IE" smtClean="0">
                <a:solidFill>
                  <a:srgbClr val="00667D"/>
                </a:solidFill>
              </a:rPr>
              <a:pPr/>
              <a:t>5</a:t>
            </a:fld>
            <a:endParaRPr lang="en-IE" dirty="0">
              <a:solidFill>
                <a:srgbClr val="00667D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4"/>
          </p:nvPr>
        </p:nvSpPr>
        <p:spPr>
          <a:xfrm>
            <a:off x="285750" y="1597891"/>
            <a:ext cx="3695655" cy="4484254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 smtClean="0">
                <a:solidFill>
                  <a:schemeClr val="accent2">
                    <a:lumMod val="75000"/>
                  </a:schemeClr>
                </a:solidFill>
              </a:rPr>
              <a:t>Purpose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Overcome 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human resource </a:t>
            </a: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challeng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Overcome lack of basic equipment and supplie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Improve 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operational efficiencies and </a:t>
            </a: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qualit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Provide 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clinical decision </a:t>
            </a: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support</a:t>
            </a:r>
          </a:p>
          <a:p>
            <a:pPr marL="0" indent="0">
              <a:buNone/>
            </a:pPr>
            <a:endParaRPr lang="en-US" sz="2400" b="1" dirty="0"/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47781" y="346797"/>
            <a:ext cx="4202545" cy="1251094"/>
          </a:xfrm>
        </p:spPr>
        <p:txBody>
          <a:bodyPr/>
          <a:lstStyle/>
          <a:p>
            <a:r>
              <a:rPr lang="en-US" dirty="0" smtClean="0"/>
              <a:t>Post-operative Care: potential for wearable technolog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8826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685800" y="4800600"/>
            <a:ext cx="8229600" cy="857250"/>
          </a:xfrm>
        </p:spPr>
        <p:txBody>
          <a:bodyPr>
            <a:noAutofit/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01" b="11512"/>
          <a:stretch/>
        </p:blipFill>
        <p:spPr>
          <a:xfrm>
            <a:off x="0" y="868152"/>
            <a:ext cx="9144000" cy="410269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/>
          <p:cNvSpPr txBox="1"/>
          <p:nvPr/>
        </p:nvSpPr>
        <p:spPr>
          <a:xfrm>
            <a:off x="1" y="4787235"/>
            <a:ext cx="9144000" cy="1264739"/>
          </a:xfrm>
          <a:prstGeom prst="rect">
            <a:avLst/>
          </a:prstGeom>
          <a:gradFill rotWithShape="1">
            <a:gsLst>
              <a:gs pos="0">
                <a:srgbClr val="61B1E3">
                  <a:alpha val="84000"/>
                </a:srgbClr>
              </a:gs>
              <a:gs pos="100000">
                <a:srgbClr val="61B1E3">
                  <a:lumMod val="50000"/>
                </a:srgbClr>
              </a:gs>
            </a:gsLst>
            <a:lin ang="5400000" scaled="0"/>
          </a:gra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p:spPr>
        <p:txBody>
          <a:bodyPr wrap="square" lIns="87916" tIns="87916" rIns="87916" bIns="175832" rtlCol="0" anchor="ctr" anchorCtr="1">
            <a:spAutoFit/>
          </a:bodyPr>
          <a:lstStyle>
            <a:defPPr>
              <a:defRPr lang="en-US"/>
            </a:defPPr>
            <a:lvl1pPr marL="4913313" indent="-3084513">
              <a:defRPr sz="6600">
                <a:solidFill>
                  <a:schemeClr val="bg1"/>
                </a:solidFill>
                <a:latin typeface="Franklin Gothic Demi Cond" panose="020B0706030402020204" pitchFamily="34" charset="0"/>
              </a:defRPr>
            </a:lvl1pPr>
          </a:lstStyle>
          <a:p>
            <a:pPr marL="3739481" indent="-3345689" algn="ctr" defTabSz="879161"/>
            <a:endParaRPr lang="en-US" sz="2100" b="1" kern="0" dirty="0">
              <a:solidFill>
                <a:srgbClr val="FFFFFF"/>
              </a:solidFill>
              <a:latin typeface="Helvetica"/>
            </a:endParaRPr>
          </a:p>
          <a:p>
            <a:pPr marL="3739481" indent="-3345689" algn="ctr" defTabSz="879161"/>
            <a:r>
              <a:rPr lang="en-US" sz="3600" b="1" kern="0" dirty="0" smtClean="0">
                <a:solidFill>
                  <a:srgbClr val="FFFFFF"/>
                </a:solidFill>
                <a:latin typeface="Gill Sans MT" panose="020B0502020104020203" pitchFamily="34" charset="0"/>
              </a:rPr>
              <a:t>Thank You!</a:t>
            </a:r>
            <a:endParaRPr lang="en-US" sz="3600" b="1" kern="0" dirty="0">
              <a:solidFill>
                <a:srgbClr val="FFFFFF"/>
              </a:solidFill>
              <a:latin typeface="Gill Sans MT" panose="020B0502020104020203" pitchFamily="34" charset="0"/>
            </a:endParaRPr>
          </a:p>
          <a:p>
            <a:pPr marL="3739481" indent="-3345689" algn="ctr" defTabSz="879161"/>
            <a:endParaRPr lang="en-US" sz="788" kern="0" dirty="0">
              <a:solidFill>
                <a:prstClr val="black"/>
              </a:solidFill>
              <a:latin typeface="Franklin Gothic Medium Cond" panose="020B06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060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hpiego Theme">
  <a:themeElements>
    <a:clrScheme name="Jhpiego">
      <a:dk1>
        <a:sysClr val="windowText" lastClr="000000"/>
      </a:dk1>
      <a:lt1>
        <a:sysClr val="window" lastClr="FFFFFF"/>
      </a:lt1>
      <a:dk2>
        <a:srgbClr val="55565A"/>
      </a:dk2>
      <a:lt2>
        <a:srgbClr val="CBD5D4"/>
      </a:lt2>
      <a:accent1>
        <a:srgbClr val="00667D"/>
      </a:accent1>
      <a:accent2>
        <a:srgbClr val="26CAD3"/>
      </a:accent2>
      <a:accent3>
        <a:srgbClr val="6F9395"/>
      </a:accent3>
      <a:accent4>
        <a:srgbClr val="BE0065"/>
      </a:accent4>
      <a:accent5>
        <a:srgbClr val="0087CD"/>
      </a:accent5>
      <a:accent6>
        <a:srgbClr val="00AA88"/>
      </a:accent6>
      <a:hlink>
        <a:srgbClr val="00667D"/>
      </a:hlink>
      <a:folHlink>
        <a:srgbClr val="26CAD3"/>
      </a:folHlink>
    </a:clrScheme>
    <a:fontScheme name="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PV Testing CECAP Strategy_jv.potx" id="{D0D242D3-5E65-4637-AB09-E78F18685148}" vid="{DB93E4D2-3720-43EF-8438-0D9C9C405204}"/>
    </a:ext>
  </a:extLst>
</a:theme>
</file>

<file path=ppt/theme/theme2.xml><?xml version="1.0" encoding="utf-8"?>
<a:theme xmlns:a="http://schemas.openxmlformats.org/drawingml/2006/main" name="1_Jhpiego Theme">
  <a:themeElements>
    <a:clrScheme name="Jhpiego">
      <a:dk1>
        <a:sysClr val="windowText" lastClr="000000"/>
      </a:dk1>
      <a:lt1>
        <a:sysClr val="window" lastClr="FFFFFF"/>
      </a:lt1>
      <a:dk2>
        <a:srgbClr val="55565A"/>
      </a:dk2>
      <a:lt2>
        <a:srgbClr val="CBD5D4"/>
      </a:lt2>
      <a:accent1>
        <a:srgbClr val="00667D"/>
      </a:accent1>
      <a:accent2>
        <a:srgbClr val="26CAD3"/>
      </a:accent2>
      <a:accent3>
        <a:srgbClr val="6F9395"/>
      </a:accent3>
      <a:accent4>
        <a:srgbClr val="BE0065"/>
      </a:accent4>
      <a:accent5>
        <a:srgbClr val="0087CD"/>
      </a:accent5>
      <a:accent6>
        <a:srgbClr val="00AA88"/>
      </a:accent6>
      <a:hlink>
        <a:srgbClr val="00667D"/>
      </a:hlink>
      <a:folHlink>
        <a:srgbClr val="26CAD3"/>
      </a:folHlink>
    </a:clrScheme>
    <a:fontScheme name="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 creation to AYH.potx" id="{3673E619-920A-4205-9882-7BD6B1C4DB52}" vid="{890A39F9-1FFE-40E1-B8E4-E1A1F0F5C7D2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eme with Subtitles">
  <a:themeElements>
    <a:clrScheme name="Jhpiego">
      <a:dk1>
        <a:sysClr val="windowText" lastClr="000000"/>
      </a:dk1>
      <a:lt1>
        <a:sysClr val="window" lastClr="FFFFFF"/>
      </a:lt1>
      <a:dk2>
        <a:srgbClr val="55565A"/>
      </a:dk2>
      <a:lt2>
        <a:srgbClr val="CBD5D4"/>
      </a:lt2>
      <a:accent1>
        <a:srgbClr val="00667D"/>
      </a:accent1>
      <a:accent2>
        <a:srgbClr val="26CAD3"/>
      </a:accent2>
      <a:accent3>
        <a:srgbClr val="6F9395"/>
      </a:accent3>
      <a:accent4>
        <a:srgbClr val="00AA88"/>
      </a:accent4>
      <a:accent5>
        <a:srgbClr val="DBC637"/>
      </a:accent5>
      <a:accent6>
        <a:srgbClr val="B19E33"/>
      </a:accent6>
      <a:hlink>
        <a:srgbClr val="00667D"/>
      </a:hlink>
      <a:folHlink>
        <a:srgbClr val="26CAD3"/>
      </a:folHlink>
    </a:clrScheme>
    <a:fontScheme name="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PV Testing CECAP Strategy_jv.potx" id="{D0D242D3-5E65-4637-AB09-E78F18685148}" vid="{01F60A64-4CA7-40A8-A138-42721D79819D}"/>
    </a:ext>
  </a:extLst>
</a:theme>
</file>

<file path=ppt/theme/theme6.xml><?xml version="1.0" encoding="utf-8"?>
<a:theme xmlns:a="http://schemas.openxmlformats.org/drawingml/2006/main" name="Jhpiego Theme Option 2">
  <a:themeElements>
    <a:clrScheme name="Jhpiego">
      <a:dk1>
        <a:sysClr val="windowText" lastClr="000000"/>
      </a:dk1>
      <a:lt1>
        <a:sysClr val="window" lastClr="FFFFFF"/>
      </a:lt1>
      <a:dk2>
        <a:srgbClr val="55565A"/>
      </a:dk2>
      <a:lt2>
        <a:srgbClr val="CBD5D4"/>
      </a:lt2>
      <a:accent1>
        <a:srgbClr val="00667D"/>
      </a:accent1>
      <a:accent2>
        <a:srgbClr val="26CAD3"/>
      </a:accent2>
      <a:accent3>
        <a:srgbClr val="6F9395"/>
      </a:accent3>
      <a:accent4>
        <a:srgbClr val="BE0065"/>
      </a:accent4>
      <a:accent5>
        <a:srgbClr val="0087CD"/>
      </a:accent5>
      <a:accent6>
        <a:srgbClr val="00AA88"/>
      </a:accent6>
      <a:hlink>
        <a:srgbClr val="00667D"/>
      </a:hlink>
      <a:folHlink>
        <a:srgbClr val="26CAD3"/>
      </a:folHlink>
    </a:clrScheme>
    <a:fontScheme name="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PV Testing CECAP Strategy_jv.potx" id="{D0D242D3-5E65-4637-AB09-E78F18685148}" vid="{DD32CBAF-EDA3-49E0-8A75-6C344D81B050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02f2d2da-ffc4-463b-9a1e-6a6e71400308">7SFV5XJW4RRQ-953-2315</_dlc_DocId>
    <_dlc_DocIdUrl xmlns="02f2d2da-ffc4-463b-9a1e-6a6e71400308">
      <Url>https://my.jhpiego.org/geco/_layouts/DocIdRedir.aspx?ID=7SFV5XJW4RRQ-953-2315</Url>
      <Description>7SFV5XJW4RRQ-953-2315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FCF5DFEB91A6409522D46C0FC44C3A" ma:contentTypeVersion="0" ma:contentTypeDescription="Create a new document." ma:contentTypeScope="" ma:versionID="0d7d1a946f60f5068447ac547ab963a4">
  <xsd:schema xmlns:xsd="http://www.w3.org/2001/XMLSchema" xmlns:xs="http://www.w3.org/2001/XMLSchema" xmlns:p="http://schemas.microsoft.com/office/2006/metadata/properties" xmlns:ns2="02f2d2da-ffc4-463b-9a1e-6a6e71400308" targetNamespace="http://schemas.microsoft.com/office/2006/metadata/properties" ma:root="true" ma:fieldsID="dddccaa4cae650a96b6800af9e4f0448" ns2:_="">
    <xsd:import namespace="02f2d2da-ffc4-463b-9a1e-6a6e7140030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f2d2da-ffc4-463b-9a1e-6a6e7140030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836F94E-1F75-4F3E-9257-55316C01E59B}">
  <ds:schemaRefs>
    <ds:schemaRef ds:uri="http://purl.org/dc/elements/1.1/"/>
    <ds:schemaRef ds:uri="http://purl.org/dc/terms/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02f2d2da-ffc4-463b-9a1e-6a6e71400308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A762F89-9D88-4D17-8EF3-0AF88BE0F5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f2d2da-ffc4-463b-9a1e-6a6e714003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25A2427-ED7C-49BA-AFAD-BC862221952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BC25C6B7-67F0-4F85-953A-ADC622FAD3F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PV Testing CECAP Strategy_jv</Template>
  <TotalTime>9858</TotalTime>
  <Words>225</Words>
  <Application>Microsoft Office PowerPoint</Application>
  <PresentationFormat>On-screen Show (4:3)</PresentationFormat>
  <Paragraphs>31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3" baseType="lpstr">
      <vt:lpstr>MS PGothic</vt:lpstr>
      <vt:lpstr>Arial</vt:lpstr>
      <vt:lpstr>Calibri</vt:lpstr>
      <vt:lpstr>Calibri Light</vt:lpstr>
      <vt:lpstr>Franklin Gothic Medium Cond</vt:lpstr>
      <vt:lpstr>GE Inspira Pitch</vt:lpstr>
      <vt:lpstr>Gill Sans MT</vt:lpstr>
      <vt:lpstr>Helvetica</vt:lpstr>
      <vt:lpstr>Lato</vt:lpstr>
      <vt:lpstr>Wingdings</vt:lpstr>
      <vt:lpstr>Jhpiego Theme</vt:lpstr>
      <vt:lpstr>1_Jhpiego Theme</vt:lpstr>
      <vt:lpstr>1_Custom Design</vt:lpstr>
      <vt:lpstr>Custom Design</vt:lpstr>
      <vt:lpstr>Theme with Subtitles</vt:lpstr>
      <vt:lpstr>Jhpiego Theme Option 2</vt:lpstr>
      <vt:lpstr>think-cell Slide</vt:lpstr>
      <vt:lpstr>Jhpiego Safe Surgery: The challenge of proper post-operative care and monitoring in low-resource settings </vt:lpstr>
      <vt:lpstr>PowerPoint Presentation</vt:lpstr>
      <vt:lpstr>Gap in Quality Post-operative Care and Monitoring</vt:lpstr>
      <vt:lpstr>Post-operative Care and Monitoring Challenges</vt:lpstr>
      <vt:lpstr>Post-operative Care: potential for wearable technologies</vt:lpstr>
      <vt:lpstr>PowerPoint Presentation</vt:lpstr>
    </vt:vector>
  </TitlesOfParts>
  <Company>Jhpieg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varallo</dc:creator>
  <cp:lastModifiedBy>John Varallo</cp:lastModifiedBy>
  <cp:revision>284</cp:revision>
  <dcterms:created xsi:type="dcterms:W3CDTF">2017-09-30T11:11:50Z</dcterms:created>
  <dcterms:modified xsi:type="dcterms:W3CDTF">2019-09-27T14:2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FCF5DFEB91A6409522D46C0FC44C3A</vt:lpwstr>
  </property>
  <property fmtid="{D5CDD505-2E9C-101B-9397-08002B2CF9AE}" pid="3" name="_dlc_DocIdItemGuid">
    <vt:lpwstr>209f7662-c294-4b50-b4c2-d1be4eda883c</vt:lpwstr>
  </property>
</Properties>
</file>